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27"/>
  </p:notesMasterIdLst>
  <p:sldIdLst>
    <p:sldId id="256" r:id="rId2"/>
    <p:sldId id="279" r:id="rId3"/>
    <p:sldId id="280" r:id="rId4"/>
    <p:sldId id="257" r:id="rId5"/>
    <p:sldId id="258" r:id="rId6"/>
    <p:sldId id="259" r:id="rId7"/>
    <p:sldId id="260" r:id="rId8"/>
    <p:sldId id="261" r:id="rId9"/>
    <p:sldId id="262" r:id="rId10"/>
    <p:sldId id="263" r:id="rId11"/>
    <p:sldId id="264" r:id="rId12"/>
    <p:sldId id="265" r:id="rId13"/>
    <p:sldId id="266" r:id="rId14"/>
    <p:sldId id="267" r:id="rId15"/>
    <p:sldId id="268" r:id="rId16"/>
    <p:sldId id="269" r:id="rId17"/>
    <p:sldId id="270" r:id="rId18"/>
    <p:sldId id="271" r:id="rId19"/>
    <p:sldId id="272" r:id="rId20"/>
    <p:sldId id="273" r:id="rId21"/>
    <p:sldId id="274" r:id="rId22"/>
    <p:sldId id="275" r:id="rId23"/>
    <p:sldId id="276" r:id="rId24"/>
    <p:sldId id="277" r:id="rId25"/>
    <p:sldId id="278" r:id="rId26"/>
  </p:sldIdLst>
  <p:sldSz cx="5765800" cy="3244850"/>
  <p:notesSz cx="5765800" cy="3244850"/>
  <p:custDataLst>
    <p:tags r:id="rId28"/>
  </p:custDataLst>
  <p:defaultTextStyle>
    <a:defPPr>
      <a:defRPr kern="0"/>
    </a:def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C05982F-FE1D-4D5B-BAFF-43E6AF04EC51}" v="89" dt="2023-12-26T23:47:49.317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3854" autoAdjust="0"/>
  </p:normalViewPr>
  <p:slideViewPr>
    <p:cSldViewPr>
      <p:cViewPr>
        <p:scale>
          <a:sx n="195" d="100"/>
          <a:sy n="195" d="100"/>
        </p:scale>
        <p:origin x="570" y="138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microsoft.com/office/2015/10/relationships/revisionInfo" Target="revisionInfo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Relationship Id="rId8" Type="http://schemas.openxmlformats.org/officeDocument/2006/relationships/slide" Target="slides/slide7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brahim, Kamilah" userId="bf238fde-858a-4861-8523-750e6d83bb62" providerId="ADAL" clId="{9C05982F-FE1D-4D5B-BAFF-43E6AF04EC51}"/>
    <pc:docChg chg="undo custSel addSld modSld sldOrd modMainMaster replTag">
      <pc:chgData name="Ebrahim, Kamilah" userId="bf238fde-858a-4861-8523-750e6d83bb62" providerId="ADAL" clId="{9C05982F-FE1D-4D5B-BAFF-43E6AF04EC51}" dt="2023-12-26T23:47:49.317" v="634"/>
      <pc:docMkLst>
        <pc:docMk/>
      </pc:docMkLst>
      <pc:sldChg chg="modSp mod">
        <pc:chgData name="Ebrahim, Kamilah" userId="bf238fde-858a-4861-8523-750e6d83bb62" providerId="ADAL" clId="{9C05982F-FE1D-4D5B-BAFF-43E6AF04EC51}" dt="2023-12-26T23:47:08.097" v="626" actId="14100"/>
        <pc:sldMkLst>
          <pc:docMk/>
          <pc:sldMk cId="0" sldId="256"/>
        </pc:sldMkLst>
        <pc:spChg chg="mod">
          <ac:chgData name="Ebrahim, Kamilah" userId="bf238fde-858a-4861-8523-750e6d83bb62" providerId="ADAL" clId="{9C05982F-FE1D-4D5B-BAFF-43E6AF04EC51}" dt="2023-12-26T19:09:36.595" v="0"/>
          <ac:spMkLst>
            <pc:docMk/>
            <pc:sldMk cId="0" sldId="256"/>
            <ac:spMk id="3" creationId="{00000000-0000-0000-0000-000000000000}"/>
          </ac:spMkLst>
        </pc:spChg>
        <pc:spChg chg="mod">
          <ac:chgData name="Ebrahim, Kamilah" userId="bf238fde-858a-4861-8523-750e6d83bb62" providerId="ADAL" clId="{9C05982F-FE1D-4D5B-BAFF-43E6AF04EC51}" dt="2023-12-26T23:47:08.097" v="626" actId="14100"/>
          <ac:spMkLst>
            <pc:docMk/>
            <pc:sldMk cId="0" sldId="256"/>
            <ac:spMk id="8" creationId="{00000000-0000-0000-0000-000000000000}"/>
          </ac:spMkLst>
        </pc:spChg>
      </pc:sldChg>
      <pc:sldChg chg="modSp mod">
        <pc:chgData name="Ebrahim, Kamilah" userId="bf238fde-858a-4861-8523-750e6d83bb62" providerId="ADAL" clId="{9C05982F-FE1D-4D5B-BAFF-43E6AF04EC51}" dt="2023-12-26T20:26:53.352" v="337" actId="20577"/>
        <pc:sldMkLst>
          <pc:docMk/>
          <pc:sldMk cId="0" sldId="257"/>
        </pc:sldMkLst>
        <pc:spChg chg="mod">
          <ac:chgData name="Ebrahim, Kamilah" userId="bf238fde-858a-4861-8523-750e6d83bb62" providerId="ADAL" clId="{9C05982F-FE1D-4D5B-BAFF-43E6AF04EC51}" dt="2023-12-26T20:26:53.352" v="337" actId="20577"/>
          <ac:spMkLst>
            <pc:docMk/>
            <pc:sldMk cId="0" sldId="257"/>
            <ac:spMk id="3" creationId="{00000000-0000-0000-0000-000000000000}"/>
          </ac:spMkLst>
        </pc:spChg>
        <pc:spChg chg="mod">
          <ac:chgData name="Ebrahim, Kamilah" userId="bf238fde-858a-4861-8523-750e6d83bb62" providerId="ADAL" clId="{9C05982F-FE1D-4D5B-BAFF-43E6AF04EC51}" dt="2023-12-26T19:09:36.595" v="0"/>
          <ac:spMkLst>
            <pc:docMk/>
            <pc:sldMk cId="0" sldId="257"/>
            <ac:spMk id="8" creationId="{00000000-0000-0000-0000-000000000000}"/>
          </ac:spMkLst>
        </pc:spChg>
      </pc:sldChg>
      <pc:sldChg chg="modSp">
        <pc:chgData name="Ebrahim, Kamilah" userId="bf238fde-858a-4861-8523-750e6d83bb62" providerId="ADAL" clId="{9C05982F-FE1D-4D5B-BAFF-43E6AF04EC51}" dt="2023-12-26T19:09:36.595" v="0"/>
        <pc:sldMkLst>
          <pc:docMk/>
          <pc:sldMk cId="0" sldId="258"/>
        </pc:sldMkLst>
        <pc:spChg chg="mod">
          <ac:chgData name="Ebrahim, Kamilah" userId="bf238fde-858a-4861-8523-750e6d83bb62" providerId="ADAL" clId="{9C05982F-FE1D-4D5B-BAFF-43E6AF04EC51}" dt="2023-12-26T19:09:36.595" v="0"/>
          <ac:spMkLst>
            <pc:docMk/>
            <pc:sldMk cId="0" sldId="258"/>
            <ac:spMk id="9" creationId="{00000000-0000-0000-0000-000000000000}"/>
          </ac:spMkLst>
        </pc:spChg>
      </pc:sldChg>
      <pc:sldChg chg="addSp modSp mod">
        <pc:chgData name="Ebrahim, Kamilah" userId="bf238fde-858a-4861-8523-750e6d83bb62" providerId="ADAL" clId="{9C05982F-FE1D-4D5B-BAFF-43E6AF04EC51}" dt="2023-12-26T20:31:53.464" v="625" actId="1076"/>
        <pc:sldMkLst>
          <pc:docMk/>
          <pc:sldMk cId="0" sldId="259"/>
        </pc:sldMkLst>
        <pc:spChg chg="mod">
          <ac:chgData name="Ebrahim, Kamilah" userId="bf238fde-858a-4861-8523-750e6d83bb62" providerId="ADAL" clId="{9C05982F-FE1D-4D5B-BAFF-43E6AF04EC51}" dt="2023-12-26T20:31:49.671" v="623" actId="164"/>
          <ac:spMkLst>
            <pc:docMk/>
            <pc:sldMk cId="0" sldId="259"/>
            <ac:spMk id="8" creationId="{00000000-0000-0000-0000-000000000000}"/>
          </ac:spMkLst>
        </pc:spChg>
        <pc:spChg chg="mod">
          <ac:chgData name="Ebrahim, Kamilah" userId="bf238fde-858a-4861-8523-750e6d83bb62" providerId="ADAL" clId="{9C05982F-FE1D-4D5B-BAFF-43E6AF04EC51}" dt="2023-12-26T20:31:42.311" v="620" actId="1076"/>
          <ac:spMkLst>
            <pc:docMk/>
            <pc:sldMk cId="0" sldId="259"/>
            <ac:spMk id="9" creationId="{00000000-0000-0000-0000-000000000000}"/>
          </ac:spMkLst>
        </pc:spChg>
        <pc:spChg chg="mod">
          <ac:chgData name="Ebrahim, Kamilah" userId="bf238fde-858a-4861-8523-750e6d83bb62" providerId="ADAL" clId="{9C05982F-FE1D-4D5B-BAFF-43E6AF04EC51}" dt="2023-12-26T19:09:36.595" v="0"/>
          <ac:spMkLst>
            <pc:docMk/>
            <pc:sldMk cId="0" sldId="259"/>
            <ac:spMk id="14" creationId="{00000000-0000-0000-0000-000000000000}"/>
          </ac:spMkLst>
        </pc:spChg>
        <pc:grpChg chg="mod">
          <ac:chgData name="Ebrahim, Kamilah" userId="bf238fde-858a-4861-8523-750e6d83bb62" providerId="ADAL" clId="{9C05982F-FE1D-4D5B-BAFF-43E6AF04EC51}" dt="2023-12-26T20:31:49.671" v="623" actId="164"/>
          <ac:grpSpMkLst>
            <pc:docMk/>
            <pc:sldMk cId="0" sldId="259"/>
            <ac:grpSpMk id="4" creationId="{00000000-0000-0000-0000-000000000000}"/>
          </ac:grpSpMkLst>
        </pc:grpChg>
        <pc:grpChg chg="add mod">
          <ac:chgData name="Ebrahim, Kamilah" userId="bf238fde-858a-4861-8523-750e6d83bb62" providerId="ADAL" clId="{9C05982F-FE1D-4D5B-BAFF-43E6AF04EC51}" dt="2023-12-26T20:31:53.464" v="625" actId="1076"/>
          <ac:grpSpMkLst>
            <pc:docMk/>
            <pc:sldMk cId="0" sldId="259"/>
            <ac:grpSpMk id="17" creationId="{6F04214C-4342-59AD-F909-04853FF4D6D3}"/>
          </ac:grpSpMkLst>
        </pc:grpChg>
      </pc:sldChg>
      <pc:sldChg chg="modSp">
        <pc:chgData name="Ebrahim, Kamilah" userId="bf238fde-858a-4861-8523-750e6d83bb62" providerId="ADAL" clId="{9C05982F-FE1D-4D5B-BAFF-43E6AF04EC51}" dt="2023-12-26T19:09:36.595" v="0"/>
        <pc:sldMkLst>
          <pc:docMk/>
          <pc:sldMk cId="0" sldId="260"/>
        </pc:sldMkLst>
        <pc:spChg chg="mod">
          <ac:chgData name="Ebrahim, Kamilah" userId="bf238fde-858a-4861-8523-750e6d83bb62" providerId="ADAL" clId="{9C05982F-FE1D-4D5B-BAFF-43E6AF04EC51}" dt="2023-12-26T19:09:36.595" v="0"/>
          <ac:spMkLst>
            <pc:docMk/>
            <pc:sldMk cId="0" sldId="260"/>
            <ac:spMk id="8" creationId="{00000000-0000-0000-0000-000000000000}"/>
          </ac:spMkLst>
        </pc:spChg>
      </pc:sldChg>
      <pc:sldChg chg="modSp mod">
        <pc:chgData name="Ebrahim, Kamilah" userId="bf238fde-858a-4861-8523-750e6d83bb62" providerId="ADAL" clId="{9C05982F-FE1D-4D5B-BAFF-43E6AF04EC51}" dt="2023-12-26T20:27:47.597" v="339" actId="20577"/>
        <pc:sldMkLst>
          <pc:docMk/>
          <pc:sldMk cId="0" sldId="261"/>
        </pc:sldMkLst>
        <pc:spChg chg="mod">
          <ac:chgData name="Ebrahim, Kamilah" userId="bf238fde-858a-4861-8523-750e6d83bb62" providerId="ADAL" clId="{9C05982F-FE1D-4D5B-BAFF-43E6AF04EC51}" dt="2023-12-26T20:27:47.597" v="339" actId="20577"/>
          <ac:spMkLst>
            <pc:docMk/>
            <pc:sldMk cId="0" sldId="261"/>
            <ac:spMk id="3" creationId="{00000000-0000-0000-0000-000000000000}"/>
          </ac:spMkLst>
        </pc:spChg>
        <pc:spChg chg="mod">
          <ac:chgData name="Ebrahim, Kamilah" userId="bf238fde-858a-4861-8523-750e6d83bb62" providerId="ADAL" clId="{9C05982F-FE1D-4D5B-BAFF-43E6AF04EC51}" dt="2023-12-26T19:09:36.595" v="0"/>
          <ac:spMkLst>
            <pc:docMk/>
            <pc:sldMk cId="0" sldId="261"/>
            <ac:spMk id="8" creationId="{00000000-0000-0000-0000-000000000000}"/>
          </ac:spMkLst>
        </pc:spChg>
      </pc:sldChg>
      <pc:sldChg chg="modSp">
        <pc:chgData name="Ebrahim, Kamilah" userId="bf238fde-858a-4861-8523-750e6d83bb62" providerId="ADAL" clId="{9C05982F-FE1D-4D5B-BAFF-43E6AF04EC51}" dt="2023-12-26T19:09:36.595" v="0"/>
        <pc:sldMkLst>
          <pc:docMk/>
          <pc:sldMk cId="0" sldId="262"/>
        </pc:sldMkLst>
        <pc:spChg chg="mod">
          <ac:chgData name="Ebrahim, Kamilah" userId="bf238fde-858a-4861-8523-750e6d83bb62" providerId="ADAL" clId="{9C05982F-FE1D-4D5B-BAFF-43E6AF04EC51}" dt="2023-12-26T19:09:36.595" v="0"/>
          <ac:spMkLst>
            <pc:docMk/>
            <pc:sldMk cId="0" sldId="262"/>
            <ac:spMk id="8" creationId="{00000000-0000-0000-0000-000000000000}"/>
          </ac:spMkLst>
        </pc:spChg>
      </pc:sldChg>
      <pc:sldChg chg="modSp">
        <pc:chgData name="Ebrahim, Kamilah" userId="bf238fde-858a-4861-8523-750e6d83bb62" providerId="ADAL" clId="{9C05982F-FE1D-4D5B-BAFF-43E6AF04EC51}" dt="2023-12-26T19:09:36.595" v="0"/>
        <pc:sldMkLst>
          <pc:docMk/>
          <pc:sldMk cId="0" sldId="263"/>
        </pc:sldMkLst>
        <pc:spChg chg="mod">
          <ac:chgData name="Ebrahim, Kamilah" userId="bf238fde-858a-4861-8523-750e6d83bb62" providerId="ADAL" clId="{9C05982F-FE1D-4D5B-BAFF-43E6AF04EC51}" dt="2023-12-26T19:09:36.595" v="0"/>
          <ac:spMkLst>
            <pc:docMk/>
            <pc:sldMk cId="0" sldId="263"/>
            <ac:spMk id="8" creationId="{00000000-0000-0000-0000-000000000000}"/>
          </ac:spMkLst>
        </pc:spChg>
      </pc:sldChg>
      <pc:sldChg chg="modSp">
        <pc:chgData name="Ebrahim, Kamilah" userId="bf238fde-858a-4861-8523-750e6d83bb62" providerId="ADAL" clId="{9C05982F-FE1D-4D5B-BAFF-43E6AF04EC51}" dt="2023-12-26T19:09:36.595" v="0"/>
        <pc:sldMkLst>
          <pc:docMk/>
          <pc:sldMk cId="0" sldId="264"/>
        </pc:sldMkLst>
        <pc:spChg chg="mod">
          <ac:chgData name="Ebrahim, Kamilah" userId="bf238fde-858a-4861-8523-750e6d83bb62" providerId="ADAL" clId="{9C05982F-FE1D-4D5B-BAFF-43E6AF04EC51}" dt="2023-12-26T19:09:36.595" v="0"/>
          <ac:spMkLst>
            <pc:docMk/>
            <pc:sldMk cId="0" sldId="264"/>
            <ac:spMk id="8" creationId="{00000000-0000-0000-0000-000000000000}"/>
          </ac:spMkLst>
        </pc:spChg>
      </pc:sldChg>
      <pc:sldChg chg="addSp modSp mod">
        <pc:chgData name="Ebrahim, Kamilah" userId="bf238fde-858a-4861-8523-750e6d83bb62" providerId="ADAL" clId="{9C05982F-FE1D-4D5B-BAFF-43E6AF04EC51}" dt="2023-12-26T19:10:22.432" v="56" actId="14100"/>
        <pc:sldMkLst>
          <pc:docMk/>
          <pc:sldMk cId="0" sldId="265"/>
        </pc:sldMkLst>
        <pc:spChg chg="mod ord">
          <ac:chgData name="Ebrahim, Kamilah" userId="bf238fde-858a-4861-8523-750e6d83bb62" providerId="ADAL" clId="{9C05982F-FE1D-4D5B-BAFF-43E6AF04EC51}" dt="2023-12-26T19:10:07.897" v="7"/>
          <ac:spMkLst>
            <pc:docMk/>
            <pc:sldMk cId="0" sldId="265"/>
            <ac:spMk id="2" creationId="{00000000-0000-0000-0000-000000000000}"/>
          </ac:spMkLst>
        </pc:spChg>
        <pc:spChg chg="mod ord">
          <ac:chgData name="Ebrahim, Kamilah" userId="bf238fde-858a-4861-8523-750e6d83bb62" providerId="ADAL" clId="{9C05982F-FE1D-4D5B-BAFF-43E6AF04EC51}" dt="2023-12-26T19:10:07.897" v="9"/>
          <ac:spMkLst>
            <pc:docMk/>
            <pc:sldMk cId="0" sldId="265"/>
            <ac:spMk id="3" creationId="{00000000-0000-0000-0000-000000000000}"/>
          </ac:spMkLst>
        </pc:spChg>
        <pc:spChg chg="mod ord">
          <ac:chgData name="Ebrahim, Kamilah" userId="bf238fde-858a-4861-8523-750e6d83bb62" providerId="ADAL" clId="{9C05982F-FE1D-4D5B-BAFF-43E6AF04EC51}" dt="2023-12-26T19:10:07.898" v="11"/>
          <ac:spMkLst>
            <pc:docMk/>
            <pc:sldMk cId="0" sldId="265"/>
            <ac:spMk id="4" creationId="{00000000-0000-0000-0000-000000000000}"/>
          </ac:spMkLst>
        </pc:spChg>
        <pc:spChg chg="mod ord">
          <ac:chgData name="Ebrahim, Kamilah" userId="bf238fde-858a-4861-8523-750e6d83bb62" providerId="ADAL" clId="{9C05982F-FE1D-4D5B-BAFF-43E6AF04EC51}" dt="2023-12-26T19:10:07.898" v="13"/>
          <ac:spMkLst>
            <pc:docMk/>
            <pc:sldMk cId="0" sldId="265"/>
            <ac:spMk id="8" creationId="{00000000-0000-0000-0000-000000000000}"/>
          </ac:spMkLst>
        </pc:spChg>
        <pc:spChg chg="mod ord">
          <ac:chgData name="Ebrahim, Kamilah" userId="bf238fde-858a-4861-8523-750e6d83bb62" providerId="ADAL" clId="{9C05982F-FE1D-4D5B-BAFF-43E6AF04EC51}" dt="2023-12-26T19:10:07.899" v="17"/>
          <ac:spMkLst>
            <pc:docMk/>
            <pc:sldMk cId="0" sldId="265"/>
            <ac:spMk id="13" creationId="{00000000-0000-0000-0000-000000000000}"/>
          </ac:spMkLst>
        </pc:spChg>
        <pc:spChg chg="mod ord">
          <ac:chgData name="Ebrahim, Kamilah" userId="bf238fde-858a-4861-8523-750e6d83bb62" providerId="ADAL" clId="{9C05982F-FE1D-4D5B-BAFF-43E6AF04EC51}" dt="2023-12-26T19:10:07.899" v="19"/>
          <ac:spMkLst>
            <pc:docMk/>
            <pc:sldMk cId="0" sldId="265"/>
            <ac:spMk id="14" creationId="{00000000-0000-0000-0000-000000000000}"/>
          </ac:spMkLst>
        </pc:spChg>
        <pc:spChg chg="mod ord">
          <ac:chgData name="Ebrahim, Kamilah" userId="bf238fde-858a-4861-8523-750e6d83bb62" providerId="ADAL" clId="{9C05982F-FE1D-4D5B-BAFF-43E6AF04EC51}" dt="2023-12-26T19:10:07.900" v="21"/>
          <ac:spMkLst>
            <pc:docMk/>
            <pc:sldMk cId="0" sldId="265"/>
            <ac:spMk id="15" creationId="{00000000-0000-0000-0000-000000000000}"/>
          </ac:spMkLst>
        </pc:spChg>
        <pc:grpChg chg="mod ord">
          <ac:chgData name="Ebrahim, Kamilah" userId="bf238fde-858a-4861-8523-750e6d83bb62" providerId="ADAL" clId="{9C05982F-FE1D-4D5B-BAFF-43E6AF04EC51}" dt="2023-12-26T19:10:22.432" v="56" actId="14100"/>
          <ac:grpSpMkLst>
            <pc:docMk/>
            <pc:sldMk cId="0" sldId="265"/>
            <ac:grpSpMk id="5" creationId="{00000000-0000-0000-0000-000000000000}"/>
          </ac:grpSpMkLst>
        </pc:grpChg>
        <pc:grpChg chg="mod ord">
          <ac:chgData name="Ebrahim, Kamilah" userId="bf238fde-858a-4861-8523-750e6d83bb62" providerId="ADAL" clId="{9C05982F-FE1D-4D5B-BAFF-43E6AF04EC51}" dt="2023-12-26T19:10:07.898" v="15"/>
          <ac:grpSpMkLst>
            <pc:docMk/>
            <pc:sldMk cId="0" sldId="265"/>
            <ac:grpSpMk id="9" creationId="{00000000-0000-0000-0000-000000000000}"/>
          </ac:grpSpMkLst>
        </pc:grpChg>
        <pc:graphicFrameChg chg="add mod ord modVis replST">
          <ac:chgData name="Ebrahim, Kamilah" userId="bf238fde-858a-4861-8523-750e6d83bb62" providerId="ADAL" clId="{9C05982F-FE1D-4D5B-BAFF-43E6AF04EC51}" dt="2023-12-26T19:10:08.187" v="53"/>
          <ac:graphicFrameMkLst>
            <pc:docMk/>
            <pc:sldMk cId="0" sldId="265"/>
            <ac:graphicFrameMk id="16" creationId="{41A73E34-030C-B12C-8615-1BE2BB0E7EE4}"/>
          </ac:graphicFrameMkLst>
        </pc:graphicFrameChg>
      </pc:sldChg>
      <pc:sldChg chg="addSp modSp mod">
        <pc:chgData name="Ebrahim, Kamilah" userId="bf238fde-858a-4861-8523-750e6d83bb62" providerId="ADAL" clId="{9C05982F-FE1D-4D5B-BAFF-43E6AF04EC51}" dt="2023-12-26T19:10:34.502" v="74"/>
        <pc:sldMkLst>
          <pc:docMk/>
          <pc:sldMk cId="0" sldId="266"/>
        </pc:sldMkLst>
        <pc:spChg chg="mod">
          <ac:chgData name="Ebrahim, Kamilah" userId="bf238fde-858a-4861-8523-750e6d83bb62" providerId="ADAL" clId="{9C05982F-FE1D-4D5B-BAFF-43E6AF04EC51}" dt="2023-12-26T19:10:33.928" v="57" actId="14100"/>
          <ac:spMkLst>
            <pc:docMk/>
            <pc:sldMk cId="0" sldId="266"/>
            <ac:spMk id="2" creationId="{00000000-0000-0000-0000-000000000000}"/>
          </ac:spMkLst>
        </pc:spChg>
        <pc:spChg chg="mod">
          <ac:chgData name="Ebrahim, Kamilah" userId="bf238fde-858a-4861-8523-750e6d83bb62" providerId="ADAL" clId="{9C05982F-FE1D-4D5B-BAFF-43E6AF04EC51}" dt="2023-12-26T19:09:36.595" v="0"/>
          <ac:spMkLst>
            <pc:docMk/>
            <pc:sldMk cId="0" sldId="266"/>
            <ac:spMk id="8" creationId="{00000000-0000-0000-0000-000000000000}"/>
          </ac:spMkLst>
        </pc:spChg>
        <pc:graphicFrameChg chg="add mod ord modVis replST">
          <ac:chgData name="Ebrahim, Kamilah" userId="bf238fde-858a-4861-8523-750e6d83bb62" providerId="ADAL" clId="{9C05982F-FE1D-4D5B-BAFF-43E6AF04EC51}" dt="2023-12-26T19:10:34.502" v="74"/>
          <ac:graphicFrameMkLst>
            <pc:docMk/>
            <pc:sldMk cId="0" sldId="266"/>
            <ac:graphicFrameMk id="11" creationId="{9FF1E8D8-D584-0B2B-8FEF-81447C0E2C95}"/>
          </ac:graphicFrameMkLst>
        </pc:graphicFrameChg>
      </pc:sldChg>
      <pc:sldChg chg="modSp">
        <pc:chgData name="Ebrahim, Kamilah" userId="bf238fde-858a-4861-8523-750e6d83bb62" providerId="ADAL" clId="{9C05982F-FE1D-4D5B-BAFF-43E6AF04EC51}" dt="2023-12-26T19:09:36.595" v="0"/>
        <pc:sldMkLst>
          <pc:docMk/>
          <pc:sldMk cId="0" sldId="267"/>
        </pc:sldMkLst>
        <pc:spChg chg="mod">
          <ac:chgData name="Ebrahim, Kamilah" userId="bf238fde-858a-4861-8523-750e6d83bb62" providerId="ADAL" clId="{9C05982F-FE1D-4D5B-BAFF-43E6AF04EC51}" dt="2023-12-26T19:09:36.595" v="0"/>
          <ac:spMkLst>
            <pc:docMk/>
            <pc:sldMk cId="0" sldId="267"/>
            <ac:spMk id="8" creationId="{00000000-0000-0000-0000-000000000000}"/>
          </ac:spMkLst>
        </pc:spChg>
      </pc:sldChg>
      <pc:sldChg chg="addSp delSp modSp mod">
        <pc:chgData name="Ebrahim, Kamilah" userId="bf238fde-858a-4861-8523-750e6d83bb62" providerId="ADAL" clId="{9C05982F-FE1D-4D5B-BAFF-43E6AF04EC51}" dt="2023-12-26T23:47:36.618" v="631"/>
        <pc:sldMkLst>
          <pc:docMk/>
          <pc:sldMk cId="0" sldId="268"/>
        </pc:sldMkLst>
        <pc:spChg chg="del mod">
          <ac:chgData name="Ebrahim, Kamilah" userId="bf238fde-858a-4861-8523-750e6d83bb62" providerId="ADAL" clId="{9C05982F-FE1D-4D5B-BAFF-43E6AF04EC51}" dt="2023-12-26T23:47:35.757" v="630" actId="478"/>
          <ac:spMkLst>
            <pc:docMk/>
            <pc:sldMk cId="0" sldId="268"/>
            <ac:spMk id="8" creationId="{00000000-0000-0000-0000-000000000000}"/>
          </ac:spMkLst>
        </pc:spChg>
        <pc:spChg chg="add mod">
          <ac:chgData name="Ebrahim, Kamilah" userId="bf238fde-858a-4861-8523-750e6d83bb62" providerId="ADAL" clId="{9C05982F-FE1D-4D5B-BAFF-43E6AF04EC51}" dt="2023-12-26T23:47:36.618" v="631"/>
          <ac:spMkLst>
            <pc:docMk/>
            <pc:sldMk cId="0" sldId="268"/>
            <ac:spMk id="11" creationId="{4983A477-1C6F-AA98-5EEA-E7BB57B1D279}"/>
          </ac:spMkLst>
        </pc:spChg>
      </pc:sldChg>
      <pc:sldChg chg="modSp">
        <pc:chgData name="Ebrahim, Kamilah" userId="bf238fde-858a-4861-8523-750e6d83bb62" providerId="ADAL" clId="{9C05982F-FE1D-4D5B-BAFF-43E6AF04EC51}" dt="2023-12-26T19:09:36.595" v="0"/>
        <pc:sldMkLst>
          <pc:docMk/>
          <pc:sldMk cId="0" sldId="269"/>
        </pc:sldMkLst>
        <pc:spChg chg="mod">
          <ac:chgData name="Ebrahim, Kamilah" userId="bf238fde-858a-4861-8523-750e6d83bb62" providerId="ADAL" clId="{9C05982F-FE1D-4D5B-BAFF-43E6AF04EC51}" dt="2023-12-26T19:09:36.595" v="0"/>
          <ac:spMkLst>
            <pc:docMk/>
            <pc:sldMk cId="0" sldId="269"/>
            <ac:spMk id="8" creationId="{00000000-0000-0000-0000-000000000000}"/>
          </ac:spMkLst>
        </pc:spChg>
      </pc:sldChg>
      <pc:sldChg chg="modSp mod">
        <pc:chgData name="Ebrahim, Kamilah" userId="bf238fde-858a-4861-8523-750e6d83bb62" providerId="ADAL" clId="{9C05982F-FE1D-4D5B-BAFF-43E6AF04EC51}" dt="2023-12-26T23:47:44.012" v="632" actId="14100"/>
        <pc:sldMkLst>
          <pc:docMk/>
          <pc:sldMk cId="0" sldId="270"/>
        </pc:sldMkLst>
        <pc:spChg chg="mod">
          <ac:chgData name="Ebrahim, Kamilah" userId="bf238fde-858a-4861-8523-750e6d83bb62" providerId="ADAL" clId="{9C05982F-FE1D-4D5B-BAFF-43E6AF04EC51}" dt="2023-12-26T23:47:44.012" v="632" actId="14100"/>
          <ac:spMkLst>
            <pc:docMk/>
            <pc:sldMk cId="0" sldId="270"/>
            <ac:spMk id="8" creationId="{00000000-0000-0000-0000-000000000000}"/>
          </ac:spMkLst>
        </pc:spChg>
      </pc:sldChg>
      <pc:sldChg chg="modSp">
        <pc:chgData name="Ebrahim, Kamilah" userId="bf238fde-858a-4861-8523-750e6d83bb62" providerId="ADAL" clId="{9C05982F-FE1D-4D5B-BAFF-43E6AF04EC51}" dt="2023-12-26T19:09:36.595" v="0"/>
        <pc:sldMkLst>
          <pc:docMk/>
          <pc:sldMk cId="0" sldId="271"/>
        </pc:sldMkLst>
        <pc:spChg chg="mod">
          <ac:chgData name="Ebrahim, Kamilah" userId="bf238fde-858a-4861-8523-750e6d83bb62" providerId="ADAL" clId="{9C05982F-FE1D-4D5B-BAFF-43E6AF04EC51}" dt="2023-12-26T19:09:36.595" v="0"/>
          <ac:spMkLst>
            <pc:docMk/>
            <pc:sldMk cId="0" sldId="271"/>
            <ac:spMk id="9" creationId="{00000000-0000-0000-0000-000000000000}"/>
          </ac:spMkLst>
        </pc:spChg>
      </pc:sldChg>
      <pc:sldChg chg="addSp delSp modSp mod">
        <pc:chgData name="Ebrahim, Kamilah" userId="bf238fde-858a-4861-8523-750e6d83bb62" providerId="ADAL" clId="{9C05982F-FE1D-4D5B-BAFF-43E6AF04EC51}" dt="2023-12-26T23:47:49.317" v="634"/>
        <pc:sldMkLst>
          <pc:docMk/>
          <pc:sldMk cId="0" sldId="272"/>
        </pc:sldMkLst>
        <pc:spChg chg="mod">
          <ac:chgData name="Ebrahim, Kamilah" userId="bf238fde-858a-4861-8523-750e6d83bb62" providerId="ADAL" clId="{9C05982F-FE1D-4D5B-BAFF-43E6AF04EC51}" dt="2023-12-26T20:29:31.451" v="340" actId="207"/>
          <ac:spMkLst>
            <pc:docMk/>
            <pc:sldMk cId="0" sldId="272"/>
            <ac:spMk id="3" creationId="{00000000-0000-0000-0000-000000000000}"/>
          </ac:spMkLst>
        </pc:spChg>
        <pc:spChg chg="del mod">
          <ac:chgData name="Ebrahim, Kamilah" userId="bf238fde-858a-4861-8523-750e6d83bb62" providerId="ADAL" clId="{9C05982F-FE1D-4D5B-BAFF-43E6AF04EC51}" dt="2023-12-26T23:47:49.058" v="633" actId="478"/>
          <ac:spMkLst>
            <pc:docMk/>
            <pc:sldMk cId="0" sldId="272"/>
            <ac:spMk id="8" creationId="{00000000-0000-0000-0000-000000000000}"/>
          </ac:spMkLst>
        </pc:spChg>
        <pc:spChg chg="add mod">
          <ac:chgData name="Ebrahim, Kamilah" userId="bf238fde-858a-4861-8523-750e6d83bb62" providerId="ADAL" clId="{9C05982F-FE1D-4D5B-BAFF-43E6AF04EC51}" dt="2023-12-26T23:47:49.317" v="634"/>
          <ac:spMkLst>
            <pc:docMk/>
            <pc:sldMk cId="0" sldId="272"/>
            <ac:spMk id="11" creationId="{A1D8975A-31A1-00EF-BF5A-F42614A96A2A}"/>
          </ac:spMkLst>
        </pc:spChg>
      </pc:sldChg>
      <pc:sldChg chg="modSp mod">
        <pc:chgData name="Ebrahim, Kamilah" userId="bf238fde-858a-4861-8523-750e6d83bb62" providerId="ADAL" clId="{9C05982F-FE1D-4D5B-BAFF-43E6AF04EC51}" dt="2023-12-26T20:29:50.260" v="344" actId="1076"/>
        <pc:sldMkLst>
          <pc:docMk/>
          <pc:sldMk cId="0" sldId="273"/>
        </pc:sldMkLst>
        <pc:spChg chg="mod">
          <ac:chgData name="Ebrahim, Kamilah" userId="bf238fde-858a-4861-8523-750e6d83bb62" providerId="ADAL" clId="{9C05982F-FE1D-4D5B-BAFF-43E6AF04EC51}" dt="2023-12-26T20:29:50.260" v="344" actId="1076"/>
          <ac:spMkLst>
            <pc:docMk/>
            <pc:sldMk cId="0" sldId="273"/>
            <ac:spMk id="5" creationId="{00000000-0000-0000-0000-000000000000}"/>
          </ac:spMkLst>
        </pc:spChg>
        <pc:spChg chg="mod">
          <ac:chgData name="Ebrahim, Kamilah" userId="bf238fde-858a-4861-8523-750e6d83bb62" providerId="ADAL" clId="{9C05982F-FE1D-4D5B-BAFF-43E6AF04EC51}" dt="2023-12-26T20:29:45.613" v="342" actId="1076"/>
          <ac:spMkLst>
            <pc:docMk/>
            <pc:sldMk cId="0" sldId="273"/>
            <ac:spMk id="6" creationId="{00000000-0000-0000-0000-000000000000}"/>
          </ac:spMkLst>
        </pc:spChg>
        <pc:spChg chg="mod">
          <ac:chgData name="Ebrahim, Kamilah" userId="bf238fde-858a-4861-8523-750e6d83bb62" providerId="ADAL" clId="{9C05982F-FE1D-4D5B-BAFF-43E6AF04EC51}" dt="2023-12-26T19:09:36.595" v="0"/>
          <ac:spMkLst>
            <pc:docMk/>
            <pc:sldMk cId="0" sldId="273"/>
            <ac:spMk id="11" creationId="{00000000-0000-0000-0000-000000000000}"/>
          </ac:spMkLst>
        </pc:spChg>
      </pc:sldChg>
      <pc:sldChg chg="modSp">
        <pc:chgData name="Ebrahim, Kamilah" userId="bf238fde-858a-4861-8523-750e6d83bb62" providerId="ADAL" clId="{9C05982F-FE1D-4D5B-BAFF-43E6AF04EC51}" dt="2023-12-26T19:09:36.595" v="0"/>
        <pc:sldMkLst>
          <pc:docMk/>
          <pc:sldMk cId="0" sldId="274"/>
        </pc:sldMkLst>
        <pc:spChg chg="mod">
          <ac:chgData name="Ebrahim, Kamilah" userId="bf238fde-858a-4861-8523-750e6d83bb62" providerId="ADAL" clId="{9C05982F-FE1D-4D5B-BAFF-43E6AF04EC51}" dt="2023-12-26T19:09:36.595" v="0"/>
          <ac:spMkLst>
            <pc:docMk/>
            <pc:sldMk cId="0" sldId="274"/>
            <ac:spMk id="8" creationId="{00000000-0000-0000-0000-000000000000}"/>
          </ac:spMkLst>
        </pc:spChg>
      </pc:sldChg>
      <pc:sldChg chg="modSp">
        <pc:chgData name="Ebrahim, Kamilah" userId="bf238fde-858a-4861-8523-750e6d83bb62" providerId="ADAL" clId="{9C05982F-FE1D-4D5B-BAFF-43E6AF04EC51}" dt="2023-12-26T19:09:36.595" v="0"/>
        <pc:sldMkLst>
          <pc:docMk/>
          <pc:sldMk cId="0" sldId="275"/>
        </pc:sldMkLst>
        <pc:spChg chg="mod">
          <ac:chgData name="Ebrahim, Kamilah" userId="bf238fde-858a-4861-8523-750e6d83bb62" providerId="ADAL" clId="{9C05982F-FE1D-4D5B-BAFF-43E6AF04EC51}" dt="2023-12-26T19:09:36.595" v="0"/>
          <ac:spMkLst>
            <pc:docMk/>
            <pc:sldMk cId="0" sldId="275"/>
            <ac:spMk id="8" creationId="{00000000-0000-0000-0000-000000000000}"/>
          </ac:spMkLst>
        </pc:spChg>
      </pc:sldChg>
      <pc:sldChg chg="modSp">
        <pc:chgData name="Ebrahim, Kamilah" userId="bf238fde-858a-4861-8523-750e6d83bb62" providerId="ADAL" clId="{9C05982F-FE1D-4D5B-BAFF-43E6AF04EC51}" dt="2023-12-26T19:09:36.595" v="0"/>
        <pc:sldMkLst>
          <pc:docMk/>
          <pc:sldMk cId="0" sldId="276"/>
        </pc:sldMkLst>
        <pc:spChg chg="mod">
          <ac:chgData name="Ebrahim, Kamilah" userId="bf238fde-858a-4861-8523-750e6d83bb62" providerId="ADAL" clId="{9C05982F-FE1D-4D5B-BAFF-43E6AF04EC51}" dt="2023-12-26T19:09:36.595" v="0"/>
          <ac:spMkLst>
            <pc:docMk/>
            <pc:sldMk cId="0" sldId="276"/>
            <ac:spMk id="9" creationId="{00000000-0000-0000-0000-000000000000}"/>
          </ac:spMkLst>
        </pc:spChg>
      </pc:sldChg>
      <pc:sldChg chg="modSp">
        <pc:chgData name="Ebrahim, Kamilah" userId="bf238fde-858a-4861-8523-750e6d83bb62" providerId="ADAL" clId="{9C05982F-FE1D-4D5B-BAFF-43E6AF04EC51}" dt="2023-12-26T19:09:36.595" v="0"/>
        <pc:sldMkLst>
          <pc:docMk/>
          <pc:sldMk cId="0" sldId="277"/>
        </pc:sldMkLst>
        <pc:spChg chg="mod">
          <ac:chgData name="Ebrahim, Kamilah" userId="bf238fde-858a-4861-8523-750e6d83bb62" providerId="ADAL" clId="{9C05982F-FE1D-4D5B-BAFF-43E6AF04EC51}" dt="2023-12-26T19:09:36.595" v="0"/>
          <ac:spMkLst>
            <pc:docMk/>
            <pc:sldMk cId="0" sldId="277"/>
            <ac:spMk id="8" creationId="{00000000-0000-0000-0000-000000000000}"/>
          </ac:spMkLst>
        </pc:spChg>
      </pc:sldChg>
      <pc:sldChg chg="modSp">
        <pc:chgData name="Ebrahim, Kamilah" userId="bf238fde-858a-4861-8523-750e6d83bb62" providerId="ADAL" clId="{9C05982F-FE1D-4D5B-BAFF-43E6AF04EC51}" dt="2023-12-26T19:09:36.595" v="0"/>
        <pc:sldMkLst>
          <pc:docMk/>
          <pc:sldMk cId="0" sldId="278"/>
        </pc:sldMkLst>
        <pc:spChg chg="mod">
          <ac:chgData name="Ebrahim, Kamilah" userId="bf238fde-858a-4861-8523-750e6d83bb62" providerId="ADAL" clId="{9C05982F-FE1D-4D5B-BAFF-43E6AF04EC51}" dt="2023-12-26T19:09:36.595" v="0"/>
          <ac:spMkLst>
            <pc:docMk/>
            <pc:sldMk cId="0" sldId="278"/>
            <ac:spMk id="8" creationId="{00000000-0000-0000-0000-000000000000}"/>
          </ac:spMkLst>
        </pc:spChg>
      </pc:sldChg>
      <pc:sldChg chg="addSp delSp modSp add mod ord">
        <pc:chgData name="Ebrahim, Kamilah" userId="bf238fde-858a-4861-8523-750e6d83bb62" providerId="ADAL" clId="{9C05982F-FE1D-4D5B-BAFF-43E6AF04EC51}" dt="2023-12-26T23:47:14.377" v="628"/>
        <pc:sldMkLst>
          <pc:docMk/>
          <pc:sldMk cId="1170210172" sldId="279"/>
        </pc:sldMkLst>
        <pc:spChg chg="mod">
          <ac:chgData name="Ebrahim, Kamilah" userId="bf238fde-858a-4861-8523-750e6d83bb62" providerId="ADAL" clId="{9C05982F-FE1D-4D5B-BAFF-43E6AF04EC51}" dt="2023-12-26T20:19:53.282" v="99" actId="20577"/>
          <ac:spMkLst>
            <pc:docMk/>
            <pc:sldMk cId="1170210172" sldId="279"/>
            <ac:spMk id="2" creationId="{00000000-0000-0000-0000-000000000000}"/>
          </ac:spMkLst>
        </pc:spChg>
        <pc:spChg chg="del mod">
          <ac:chgData name="Ebrahim, Kamilah" userId="bf238fde-858a-4861-8523-750e6d83bb62" providerId="ADAL" clId="{9C05982F-FE1D-4D5B-BAFF-43E6AF04EC51}" dt="2023-12-26T20:20:33.612" v="171"/>
          <ac:spMkLst>
            <pc:docMk/>
            <pc:sldMk cId="1170210172" sldId="279"/>
            <ac:spMk id="3" creationId="{00000000-0000-0000-0000-000000000000}"/>
          </ac:spMkLst>
        </pc:spChg>
        <pc:spChg chg="add mod">
          <ac:chgData name="Ebrahim, Kamilah" userId="bf238fde-858a-4861-8523-750e6d83bb62" providerId="ADAL" clId="{9C05982F-FE1D-4D5B-BAFF-43E6AF04EC51}" dt="2023-12-26T23:47:14.377" v="628"/>
          <ac:spMkLst>
            <pc:docMk/>
            <pc:sldMk cId="1170210172" sldId="279"/>
            <ac:spMk id="3" creationId="{F6359012-47CC-A751-75AB-DB0C0B233450}"/>
          </ac:spMkLst>
        </pc:spChg>
        <pc:spChg chg="del">
          <ac:chgData name="Ebrahim, Kamilah" userId="bf238fde-858a-4861-8523-750e6d83bb62" providerId="ADAL" clId="{9C05982F-FE1D-4D5B-BAFF-43E6AF04EC51}" dt="2023-12-26T23:47:13.747" v="627" actId="478"/>
          <ac:spMkLst>
            <pc:docMk/>
            <pc:sldMk cId="1170210172" sldId="279"/>
            <ac:spMk id="8" creationId="{00000000-0000-0000-0000-000000000000}"/>
          </ac:spMkLst>
        </pc:spChg>
        <pc:spChg chg="add del">
          <ac:chgData name="Ebrahim, Kamilah" userId="bf238fde-858a-4861-8523-750e6d83bb62" providerId="ADAL" clId="{9C05982F-FE1D-4D5B-BAFF-43E6AF04EC51}" dt="2023-12-26T20:20:37.790" v="173"/>
          <ac:spMkLst>
            <pc:docMk/>
            <pc:sldMk cId="1170210172" sldId="279"/>
            <ac:spMk id="12" creationId="{BB833260-FBC0-8E84-0F36-50A4E2F193C2}"/>
          </ac:spMkLst>
        </pc:spChg>
        <pc:spChg chg="add del">
          <ac:chgData name="Ebrahim, Kamilah" userId="bf238fde-858a-4861-8523-750e6d83bb62" providerId="ADAL" clId="{9C05982F-FE1D-4D5B-BAFF-43E6AF04EC51}" dt="2023-12-26T20:21:23.148" v="179"/>
          <ac:spMkLst>
            <pc:docMk/>
            <pc:sldMk cId="1170210172" sldId="279"/>
            <ac:spMk id="14" creationId="{7F56D7D3-3C2D-BD54-B98F-65E5D0F1F71B}"/>
          </ac:spMkLst>
        </pc:spChg>
        <pc:spChg chg="add mod">
          <ac:chgData name="Ebrahim, Kamilah" userId="bf238fde-858a-4861-8523-750e6d83bb62" providerId="ADAL" clId="{9C05982F-FE1D-4D5B-BAFF-43E6AF04EC51}" dt="2023-12-26T20:25:59.042" v="309" actId="403"/>
          <ac:spMkLst>
            <pc:docMk/>
            <pc:sldMk cId="1170210172" sldId="279"/>
            <ac:spMk id="16" creationId="{DDE45EA3-4D32-7B18-18B4-C228C563834D}"/>
          </ac:spMkLst>
        </pc:spChg>
        <pc:graphicFrameChg chg="add mod ord modVis replST">
          <ac:chgData name="Ebrahim, Kamilah" userId="bf238fde-858a-4861-8523-750e6d83bb62" providerId="ADAL" clId="{9C05982F-FE1D-4D5B-BAFF-43E6AF04EC51}" dt="2023-12-26T20:19:53.832" v="116"/>
          <ac:graphicFrameMkLst>
            <pc:docMk/>
            <pc:sldMk cId="1170210172" sldId="279"/>
            <ac:graphicFrameMk id="11" creationId="{9AC4FFA3-0603-6C12-4F9B-D3A5C7ECF2D4}"/>
          </ac:graphicFrameMkLst>
        </pc:graphicFrameChg>
        <pc:picChg chg="add mod modCrop">
          <ac:chgData name="Ebrahim, Kamilah" userId="bf238fde-858a-4861-8523-750e6d83bb62" providerId="ADAL" clId="{9C05982F-FE1D-4D5B-BAFF-43E6AF04EC51}" dt="2023-12-26T20:26:22.939" v="321" actId="1076"/>
          <ac:picMkLst>
            <pc:docMk/>
            <pc:sldMk cId="1170210172" sldId="279"/>
            <ac:picMk id="13" creationId="{7E12395E-675A-E829-829A-19123B261EF2}"/>
          </ac:picMkLst>
        </pc:picChg>
        <pc:picChg chg="add mod">
          <ac:chgData name="Ebrahim, Kamilah" userId="bf238fde-858a-4861-8523-750e6d83bb62" providerId="ADAL" clId="{9C05982F-FE1D-4D5B-BAFF-43E6AF04EC51}" dt="2023-12-26T20:26:27.287" v="324" actId="14100"/>
          <ac:picMkLst>
            <pc:docMk/>
            <pc:sldMk cId="1170210172" sldId="279"/>
            <ac:picMk id="15" creationId="{87C3D43B-0B6A-499A-0906-90ADB96A0069}"/>
          </ac:picMkLst>
        </pc:picChg>
        <pc:picChg chg="add mod">
          <ac:chgData name="Ebrahim, Kamilah" userId="bf238fde-858a-4861-8523-750e6d83bb62" providerId="ADAL" clId="{9C05982F-FE1D-4D5B-BAFF-43E6AF04EC51}" dt="2023-12-26T20:25:51.072" v="302" actId="571"/>
          <ac:picMkLst>
            <pc:docMk/>
            <pc:sldMk cId="1170210172" sldId="279"/>
            <ac:picMk id="17" creationId="{0414038B-4831-55B9-EAE1-6D334BC5BFE3}"/>
          </ac:picMkLst>
        </pc:picChg>
        <pc:picChg chg="add mod">
          <ac:chgData name="Ebrahim, Kamilah" userId="bf238fde-858a-4861-8523-750e6d83bb62" providerId="ADAL" clId="{9C05982F-FE1D-4D5B-BAFF-43E6AF04EC51}" dt="2023-12-26T20:25:51.072" v="302" actId="571"/>
          <ac:picMkLst>
            <pc:docMk/>
            <pc:sldMk cId="1170210172" sldId="279"/>
            <ac:picMk id="18" creationId="{414AE2C9-3491-E904-C80B-7DAD6D6B7E5B}"/>
          </ac:picMkLst>
        </pc:picChg>
        <pc:picChg chg="add mod">
          <ac:chgData name="Ebrahim, Kamilah" userId="bf238fde-858a-4861-8523-750e6d83bb62" providerId="ADAL" clId="{9C05982F-FE1D-4D5B-BAFF-43E6AF04EC51}" dt="2023-12-26T20:25:51.072" v="302" actId="571"/>
          <ac:picMkLst>
            <pc:docMk/>
            <pc:sldMk cId="1170210172" sldId="279"/>
            <ac:picMk id="19" creationId="{54E091A1-5496-FD19-D185-643E6CF3BC26}"/>
          </ac:picMkLst>
        </pc:picChg>
        <pc:picChg chg="add mod">
          <ac:chgData name="Ebrahim, Kamilah" userId="bf238fde-858a-4861-8523-750e6d83bb62" providerId="ADAL" clId="{9C05982F-FE1D-4D5B-BAFF-43E6AF04EC51}" dt="2023-12-26T20:26:30.475" v="326" actId="1076"/>
          <ac:picMkLst>
            <pc:docMk/>
            <pc:sldMk cId="1170210172" sldId="279"/>
            <ac:picMk id="1030" creationId="{BCD38E72-27A2-3A7D-695F-368A2BBF5A06}"/>
          </ac:picMkLst>
        </pc:picChg>
      </pc:sldChg>
      <pc:sldChg chg="delSp modSp add mod">
        <pc:chgData name="Ebrahim, Kamilah" userId="bf238fde-858a-4861-8523-750e6d83bb62" providerId="ADAL" clId="{9C05982F-FE1D-4D5B-BAFF-43E6AF04EC51}" dt="2023-12-26T20:31:33.322" v="619" actId="114"/>
        <pc:sldMkLst>
          <pc:docMk/>
          <pc:sldMk cId="1422056887" sldId="280"/>
        </pc:sldMkLst>
        <pc:spChg chg="mod">
          <ac:chgData name="Ebrahim, Kamilah" userId="bf238fde-858a-4861-8523-750e6d83bb62" providerId="ADAL" clId="{9C05982F-FE1D-4D5B-BAFF-43E6AF04EC51}" dt="2023-12-26T20:30:28.421" v="359" actId="20577"/>
          <ac:spMkLst>
            <pc:docMk/>
            <pc:sldMk cId="1422056887" sldId="280"/>
            <ac:spMk id="2" creationId="{00000000-0000-0000-0000-000000000000}"/>
          </ac:spMkLst>
        </pc:spChg>
        <pc:spChg chg="mod">
          <ac:chgData name="Ebrahim, Kamilah" userId="bf238fde-858a-4861-8523-750e6d83bb62" providerId="ADAL" clId="{9C05982F-FE1D-4D5B-BAFF-43E6AF04EC51}" dt="2023-12-26T20:31:33.322" v="619" actId="114"/>
          <ac:spMkLst>
            <pc:docMk/>
            <pc:sldMk cId="1422056887" sldId="280"/>
            <ac:spMk id="16" creationId="{DDE45EA3-4D32-7B18-18B4-C228C563834D}"/>
          </ac:spMkLst>
        </pc:spChg>
        <pc:graphicFrameChg chg="mod">
          <ac:chgData name="Ebrahim, Kamilah" userId="bf238fde-858a-4861-8523-750e6d83bb62" providerId="ADAL" clId="{9C05982F-FE1D-4D5B-BAFF-43E6AF04EC51}" dt="2023-12-26T20:30:28.922" v="363"/>
          <ac:graphicFrameMkLst>
            <pc:docMk/>
            <pc:sldMk cId="1422056887" sldId="280"/>
            <ac:graphicFrameMk id="11" creationId="{9AC4FFA3-0603-6C12-4F9B-D3A5C7ECF2D4}"/>
          </ac:graphicFrameMkLst>
        </pc:graphicFrameChg>
        <pc:picChg chg="del">
          <ac:chgData name="Ebrahim, Kamilah" userId="bf238fde-858a-4861-8523-750e6d83bb62" providerId="ADAL" clId="{9C05982F-FE1D-4D5B-BAFF-43E6AF04EC51}" dt="2023-12-26T20:30:25.122" v="347" actId="478"/>
          <ac:picMkLst>
            <pc:docMk/>
            <pc:sldMk cId="1422056887" sldId="280"/>
            <ac:picMk id="13" creationId="{7E12395E-675A-E829-829A-19123B261EF2}"/>
          </ac:picMkLst>
        </pc:picChg>
        <pc:picChg chg="del">
          <ac:chgData name="Ebrahim, Kamilah" userId="bf238fde-858a-4861-8523-750e6d83bb62" providerId="ADAL" clId="{9C05982F-FE1D-4D5B-BAFF-43E6AF04EC51}" dt="2023-12-26T20:30:25.122" v="347" actId="478"/>
          <ac:picMkLst>
            <pc:docMk/>
            <pc:sldMk cId="1422056887" sldId="280"/>
            <ac:picMk id="15" creationId="{87C3D43B-0B6A-499A-0906-90ADB96A0069}"/>
          </ac:picMkLst>
        </pc:picChg>
        <pc:picChg chg="del">
          <ac:chgData name="Ebrahim, Kamilah" userId="bf238fde-858a-4861-8523-750e6d83bb62" providerId="ADAL" clId="{9C05982F-FE1D-4D5B-BAFF-43E6AF04EC51}" dt="2023-12-26T20:30:25.122" v="347" actId="478"/>
          <ac:picMkLst>
            <pc:docMk/>
            <pc:sldMk cId="1422056887" sldId="280"/>
            <ac:picMk id="1030" creationId="{BCD38E72-27A2-3A7D-695F-368A2BBF5A06}"/>
          </ac:picMkLst>
        </pc:picChg>
      </pc:sldChg>
      <pc:sldMasterChg chg="addSp modSp mod modSldLayout">
        <pc:chgData name="Ebrahim, Kamilah" userId="bf238fde-858a-4861-8523-750e6d83bb62" providerId="ADAL" clId="{9C05982F-FE1D-4D5B-BAFF-43E6AF04EC51}" dt="2023-12-26T19:10:08.162" v="38"/>
        <pc:sldMasterMkLst>
          <pc:docMk/>
          <pc:sldMasterMk cId="0" sldId="2147483648"/>
        </pc:sldMasterMkLst>
        <pc:spChg chg="mod">
          <ac:chgData name="Ebrahim, Kamilah" userId="bf238fde-858a-4861-8523-750e6d83bb62" providerId="ADAL" clId="{9C05982F-FE1D-4D5B-BAFF-43E6AF04EC51}" dt="2023-12-26T19:09:36.595" v="0"/>
          <ac:spMkLst>
            <pc:docMk/>
            <pc:sldMasterMk cId="0" sldId="2147483648"/>
            <ac:spMk id="4" creationId="{00000000-0000-0000-0000-000000000000}"/>
          </ac:spMkLst>
        </pc:spChg>
        <pc:graphicFrameChg chg="add mod ord modVis replST">
          <ac:chgData name="Ebrahim, Kamilah" userId="bf238fde-858a-4861-8523-750e6d83bb62" providerId="ADAL" clId="{9C05982F-FE1D-4D5B-BAFF-43E6AF04EC51}" dt="2023-12-26T19:10:08.162" v="38"/>
          <ac:graphicFrameMkLst>
            <pc:docMk/>
            <pc:sldMasterMk cId="0" sldId="2147483648"/>
            <ac:graphicFrameMk id="7" creationId="{EBADF8CD-0B18-1C35-769E-483F90008501}"/>
          </ac:graphicFrameMkLst>
        </pc:graphicFrameChg>
        <pc:sldLayoutChg chg="modSp">
          <pc:chgData name="Ebrahim, Kamilah" userId="bf238fde-858a-4861-8523-750e6d83bb62" providerId="ADAL" clId="{9C05982F-FE1D-4D5B-BAFF-43E6AF04EC51}" dt="2023-12-26T19:09:36.595" v="0"/>
          <pc:sldLayoutMkLst>
            <pc:docMk/>
            <pc:sldMasterMk cId="0" sldId="2147483648"/>
            <pc:sldLayoutMk cId="0" sldId="2147483661"/>
          </pc:sldLayoutMkLst>
          <pc:spChg chg="mod">
            <ac:chgData name="Ebrahim, Kamilah" userId="bf238fde-858a-4861-8523-750e6d83bb62" providerId="ADAL" clId="{9C05982F-FE1D-4D5B-BAFF-43E6AF04EC51}" dt="2023-12-26T19:09:36.595" v="0"/>
            <ac:spMkLst>
              <pc:docMk/>
              <pc:sldMasterMk cId="0" sldId="2147483648"/>
              <pc:sldLayoutMk cId="0" sldId="2147483661"/>
              <ac:spMk id="4" creationId="{00000000-0000-0000-0000-000000000000}"/>
            </ac:spMkLst>
          </pc:spChg>
        </pc:sldLayoutChg>
        <pc:sldLayoutChg chg="modSp">
          <pc:chgData name="Ebrahim, Kamilah" userId="bf238fde-858a-4861-8523-750e6d83bb62" providerId="ADAL" clId="{9C05982F-FE1D-4D5B-BAFF-43E6AF04EC51}" dt="2023-12-26T19:09:36.595" v="0"/>
          <pc:sldLayoutMkLst>
            <pc:docMk/>
            <pc:sldMasterMk cId="0" sldId="2147483648"/>
            <pc:sldLayoutMk cId="0" sldId="2147483662"/>
          </pc:sldLayoutMkLst>
          <pc:spChg chg="mod">
            <ac:chgData name="Ebrahim, Kamilah" userId="bf238fde-858a-4861-8523-750e6d83bb62" providerId="ADAL" clId="{9C05982F-FE1D-4D5B-BAFF-43E6AF04EC51}" dt="2023-12-26T19:09:36.595" v="0"/>
            <ac:spMkLst>
              <pc:docMk/>
              <pc:sldMasterMk cId="0" sldId="2147483648"/>
              <pc:sldLayoutMk cId="0" sldId="2147483662"/>
              <ac:spMk id="4" creationId="{00000000-0000-0000-0000-000000000000}"/>
            </ac:spMkLst>
          </pc:spChg>
        </pc:sldLayoutChg>
        <pc:sldLayoutChg chg="modSp">
          <pc:chgData name="Ebrahim, Kamilah" userId="bf238fde-858a-4861-8523-750e6d83bb62" providerId="ADAL" clId="{9C05982F-FE1D-4D5B-BAFF-43E6AF04EC51}" dt="2023-12-26T19:09:36.595" v="0"/>
          <pc:sldLayoutMkLst>
            <pc:docMk/>
            <pc:sldMasterMk cId="0" sldId="2147483648"/>
            <pc:sldLayoutMk cId="0" sldId="2147483663"/>
          </pc:sldLayoutMkLst>
          <pc:spChg chg="mod">
            <ac:chgData name="Ebrahim, Kamilah" userId="bf238fde-858a-4861-8523-750e6d83bb62" providerId="ADAL" clId="{9C05982F-FE1D-4D5B-BAFF-43E6AF04EC51}" dt="2023-12-26T19:09:36.595" v="0"/>
            <ac:spMkLst>
              <pc:docMk/>
              <pc:sldMasterMk cId="0" sldId="2147483648"/>
              <pc:sldLayoutMk cId="0" sldId="2147483663"/>
              <ac:spMk id="5" creationId="{00000000-0000-0000-0000-000000000000}"/>
            </ac:spMkLst>
          </pc:spChg>
        </pc:sldLayoutChg>
        <pc:sldLayoutChg chg="modSp">
          <pc:chgData name="Ebrahim, Kamilah" userId="bf238fde-858a-4861-8523-750e6d83bb62" providerId="ADAL" clId="{9C05982F-FE1D-4D5B-BAFF-43E6AF04EC51}" dt="2023-12-26T19:09:36.595" v="0"/>
          <pc:sldLayoutMkLst>
            <pc:docMk/>
            <pc:sldMasterMk cId="0" sldId="2147483648"/>
            <pc:sldLayoutMk cId="0" sldId="2147483664"/>
          </pc:sldLayoutMkLst>
          <pc:spChg chg="mod">
            <ac:chgData name="Ebrahim, Kamilah" userId="bf238fde-858a-4861-8523-750e6d83bb62" providerId="ADAL" clId="{9C05982F-FE1D-4D5B-BAFF-43E6AF04EC51}" dt="2023-12-26T19:09:36.595" v="0"/>
            <ac:spMkLst>
              <pc:docMk/>
              <pc:sldMasterMk cId="0" sldId="2147483648"/>
              <pc:sldLayoutMk cId="0" sldId="2147483664"/>
              <ac:spMk id="3" creationId="{00000000-0000-0000-0000-000000000000}"/>
            </ac:spMkLst>
          </pc:spChg>
        </pc:sldLayoutChg>
        <pc:sldLayoutChg chg="modSp">
          <pc:chgData name="Ebrahim, Kamilah" userId="bf238fde-858a-4861-8523-750e6d83bb62" providerId="ADAL" clId="{9C05982F-FE1D-4D5B-BAFF-43E6AF04EC51}" dt="2023-12-26T19:09:36.595" v="0"/>
          <pc:sldLayoutMkLst>
            <pc:docMk/>
            <pc:sldMasterMk cId="0" sldId="2147483648"/>
            <pc:sldLayoutMk cId="0" sldId="2147483665"/>
          </pc:sldLayoutMkLst>
          <pc:spChg chg="mod">
            <ac:chgData name="Ebrahim, Kamilah" userId="bf238fde-858a-4861-8523-750e6d83bb62" providerId="ADAL" clId="{9C05982F-FE1D-4D5B-BAFF-43E6AF04EC51}" dt="2023-12-26T19:09:36.595" v="0"/>
            <ac:spMkLst>
              <pc:docMk/>
              <pc:sldMasterMk cId="0" sldId="2147483648"/>
              <pc:sldLayoutMk cId="0" sldId="2147483665"/>
              <ac:spMk id="2" creationId="{00000000-0000-0000-0000-000000000000}"/>
            </ac:spMkLst>
          </pc:spChg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498725" cy="1619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265488" y="0"/>
            <a:ext cx="2498725" cy="1619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060450B-1185-4B60-9585-2EFD3EC07922}" type="datetimeFigureOut">
              <a:rPr lang="en-US" smtClean="0"/>
              <a:t>12/26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911350" y="406400"/>
            <a:ext cx="1943100" cy="10937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76263" y="1562100"/>
            <a:ext cx="4613275" cy="12779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3082925"/>
            <a:ext cx="2498725" cy="1619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265488" y="3082925"/>
            <a:ext cx="2498725" cy="1619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361D9B1-BD0E-4247-9847-AE23D61342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67928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61D9B1-BD0E-4247-9847-AE23D61342F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98091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32435" y="1005903"/>
            <a:ext cx="4900930" cy="6814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4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864870" y="1817116"/>
            <a:ext cx="4036060" cy="81121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1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26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‹#›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3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1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92333"/>
          </a:xfrm>
        </p:spPr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26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‹#›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3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288290" y="746315"/>
            <a:ext cx="2508123" cy="214160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2969387" y="746315"/>
            <a:ext cx="2508123" cy="214160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26/2023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‹#›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3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26/2023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‹#›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3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87743" y="745718"/>
            <a:ext cx="5584825" cy="82550"/>
          </a:xfrm>
          <a:custGeom>
            <a:avLst/>
            <a:gdLst/>
            <a:ahLst/>
            <a:cxnLst/>
            <a:rect l="l" t="t" r="r" b="b"/>
            <a:pathLst>
              <a:path w="5584825" h="82550">
                <a:moveTo>
                  <a:pt x="5533780" y="0"/>
                </a:moveTo>
                <a:lnTo>
                  <a:pt x="50800" y="0"/>
                </a:lnTo>
                <a:lnTo>
                  <a:pt x="31075" y="4008"/>
                </a:lnTo>
                <a:lnTo>
                  <a:pt x="14922" y="14922"/>
                </a:lnTo>
                <a:lnTo>
                  <a:pt x="4008" y="31075"/>
                </a:lnTo>
                <a:lnTo>
                  <a:pt x="0" y="50800"/>
                </a:lnTo>
                <a:lnTo>
                  <a:pt x="0" y="82384"/>
                </a:lnTo>
                <a:lnTo>
                  <a:pt x="5584580" y="82384"/>
                </a:lnTo>
                <a:lnTo>
                  <a:pt x="5584580" y="50800"/>
                </a:lnTo>
                <a:lnTo>
                  <a:pt x="5580572" y="31075"/>
                </a:lnTo>
                <a:lnTo>
                  <a:pt x="5569658" y="14922"/>
                </a:lnTo>
                <a:lnTo>
                  <a:pt x="5553505" y="4008"/>
                </a:lnTo>
                <a:lnTo>
                  <a:pt x="5533780" y="0"/>
                </a:lnTo>
                <a:close/>
              </a:path>
            </a:pathLst>
          </a:custGeom>
          <a:solidFill>
            <a:srgbClr val="0C264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138544" y="808982"/>
            <a:ext cx="5584825" cy="471805"/>
          </a:xfrm>
          <a:custGeom>
            <a:avLst/>
            <a:gdLst/>
            <a:ahLst/>
            <a:cxnLst/>
            <a:rect l="l" t="t" r="r" b="b"/>
            <a:pathLst>
              <a:path w="5584825" h="471805">
                <a:moveTo>
                  <a:pt x="5584580" y="0"/>
                </a:moveTo>
                <a:lnTo>
                  <a:pt x="0" y="0"/>
                </a:lnTo>
                <a:lnTo>
                  <a:pt x="0" y="471762"/>
                </a:lnTo>
                <a:lnTo>
                  <a:pt x="5584580" y="471762"/>
                </a:lnTo>
                <a:lnTo>
                  <a:pt x="558458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g object 18"/>
          <p:cNvSpPr/>
          <p:nvPr/>
        </p:nvSpPr>
        <p:spPr>
          <a:xfrm>
            <a:off x="87743" y="790146"/>
            <a:ext cx="5584825" cy="440055"/>
          </a:xfrm>
          <a:custGeom>
            <a:avLst/>
            <a:gdLst/>
            <a:ahLst/>
            <a:cxnLst/>
            <a:rect l="l" t="t" r="r" b="b"/>
            <a:pathLst>
              <a:path w="5584825" h="440055">
                <a:moveTo>
                  <a:pt x="5584580" y="0"/>
                </a:moveTo>
                <a:lnTo>
                  <a:pt x="0" y="0"/>
                </a:lnTo>
                <a:lnTo>
                  <a:pt x="0" y="388997"/>
                </a:lnTo>
                <a:lnTo>
                  <a:pt x="4008" y="408722"/>
                </a:lnTo>
                <a:lnTo>
                  <a:pt x="14922" y="424875"/>
                </a:lnTo>
                <a:lnTo>
                  <a:pt x="31075" y="435789"/>
                </a:lnTo>
                <a:lnTo>
                  <a:pt x="50800" y="439798"/>
                </a:lnTo>
                <a:lnTo>
                  <a:pt x="5533780" y="439798"/>
                </a:lnTo>
                <a:lnTo>
                  <a:pt x="5553505" y="435789"/>
                </a:lnTo>
                <a:lnTo>
                  <a:pt x="5569658" y="424875"/>
                </a:lnTo>
                <a:lnTo>
                  <a:pt x="5580572" y="408722"/>
                </a:lnTo>
                <a:lnTo>
                  <a:pt x="5584580" y="388997"/>
                </a:lnTo>
                <a:lnTo>
                  <a:pt x="5584580" y="0"/>
                </a:lnTo>
                <a:close/>
              </a:path>
            </a:pathLst>
          </a:custGeom>
          <a:solidFill>
            <a:srgbClr val="0C264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92333"/>
          </a:xfrm>
        </p:spPr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26/2023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‹#›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3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BADF8CD-0B18-1C35-769E-483F900085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242312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606" imgH="608" progId="TCLayout.ActiveDocument.1">
                  <p:embed/>
                </p:oleObj>
              </mc:Choice>
              <mc:Fallback>
                <p:oleObj name="think-cell Slide" r:id="rId8" imgW="606" imgH="6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ADF8CD-0B18-1C35-769E-483F900085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g object 16"/>
          <p:cNvSpPr/>
          <p:nvPr/>
        </p:nvSpPr>
        <p:spPr>
          <a:xfrm>
            <a:off x="0" y="25"/>
            <a:ext cx="5760085" cy="350520"/>
          </a:xfrm>
          <a:custGeom>
            <a:avLst/>
            <a:gdLst/>
            <a:ahLst/>
            <a:cxnLst/>
            <a:rect l="l" t="t" r="r" b="b"/>
            <a:pathLst>
              <a:path w="5760085" h="350520">
                <a:moveTo>
                  <a:pt x="5759996" y="0"/>
                </a:moveTo>
                <a:lnTo>
                  <a:pt x="0" y="0"/>
                </a:lnTo>
                <a:lnTo>
                  <a:pt x="0" y="350278"/>
                </a:lnTo>
                <a:lnTo>
                  <a:pt x="5759996" y="350278"/>
                </a:lnTo>
                <a:lnTo>
                  <a:pt x="5759996" y="0"/>
                </a:lnTo>
                <a:close/>
              </a:path>
            </a:pathLst>
          </a:custGeom>
          <a:solidFill>
            <a:srgbClr val="0C264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5300" y="54486"/>
            <a:ext cx="2788920" cy="2508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4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87744" y="745145"/>
            <a:ext cx="5497830" cy="18319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1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288290" y="3017710"/>
            <a:ext cx="1326134" cy="16224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26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5427535" y="3106011"/>
            <a:ext cx="278129" cy="1371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‹#›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3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" Target="slide25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" Target="slide25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" Target="slide25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5" Type="http://schemas.openxmlformats.org/officeDocument/2006/relationships/slide" Target="slide25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slide" Target="slide1.xml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" Target="slide1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" Target="slide1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" Target="slide1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" Target="slide1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" Target="slide1.xml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" Target="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slide" Target="slide25.xml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slide" Target="slide1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slide" Target="slide1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slide" Target="slide1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" Target="slide1.xml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slide" Target="slide1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slide" Target="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slide" Target="slide25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" Target="slide25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" Target="slide25.xml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" Target="slide2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" Target="slide25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" Target="slide2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" Target="slide25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38544" y="808982"/>
            <a:ext cx="5584825" cy="471805"/>
          </a:xfrm>
          <a:prstGeom prst="rect">
            <a:avLst/>
          </a:prstGeom>
        </p:spPr>
        <p:txBody>
          <a:bodyPr vert="horz" wrap="square" lIns="0" tIns="59690" rIns="0" bIns="0" rtlCol="0">
            <a:spAutoFit/>
          </a:bodyPr>
          <a:lstStyle/>
          <a:p>
            <a:pPr marR="93980" algn="ctr">
              <a:lnSpc>
                <a:spcPct val="100000"/>
              </a:lnSpc>
              <a:spcBef>
                <a:spcPts val="470"/>
              </a:spcBef>
            </a:pPr>
            <a:r>
              <a:rPr sz="1400" spc="-20" dirty="0">
                <a:solidFill>
                  <a:srgbClr val="FFFFFF"/>
                </a:solidFill>
                <a:latin typeface="Tahoma"/>
                <a:cs typeface="Tahoma"/>
              </a:rPr>
              <a:t>6.1:</a:t>
            </a:r>
            <a:r>
              <a:rPr sz="1400" spc="6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-30" dirty="0">
                <a:solidFill>
                  <a:srgbClr val="FFFFFF"/>
                </a:solidFill>
                <a:latin typeface="Tahoma"/>
                <a:cs typeface="Tahoma"/>
              </a:rPr>
              <a:t>Introduction</a:t>
            </a:r>
            <a:r>
              <a:rPr sz="1400" spc="-6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FFFFFF"/>
                </a:solidFill>
                <a:latin typeface="Tahoma"/>
                <a:cs typeface="Tahoma"/>
              </a:rPr>
              <a:t>to</a:t>
            </a:r>
            <a:r>
              <a:rPr sz="1400" spc="-6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FFFFFF"/>
                </a:solidFill>
                <a:latin typeface="Tahoma"/>
                <a:cs typeface="Tahoma"/>
              </a:rPr>
              <a:t>Statistical</a:t>
            </a:r>
            <a:r>
              <a:rPr sz="1400" spc="-6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-10" dirty="0">
                <a:solidFill>
                  <a:srgbClr val="FFFFFF"/>
                </a:solidFill>
                <a:latin typeface="Tahoma"/>
                <a:cs typeface="Tahoma"/>
              </a:rPr>
              <a:t>Learning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2284222" y="1441626"/>
            <a:ext cx="1191895" cy="47244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90"/>
              </a:spcBef>
            </a:pPr>
            <a:r>
              <a:rPr lang="en-US" sz="1100" spc="-25" dirty="0">
                <a:latin typeface="Tahoma"/>
                <a:cs typeface="Tahoma"/>
              </a:rPr>
              <a:t>Kamilah Ebrahim</a:t>
            </a:r>
            <a:endParaRPr sz="1100" dirty="0">
              <a:latin typeface="Tahoma"/>
              <a:cs typeface="Tahoma"/>
            </a:endParaRPr>
          </a:p>
          <a:p>
            <a:pPr algn="ctr">
              <a:lnSpc>
                <a:spcPct val="100000"/>
              </a:lnSpc>
              <a:spcBef>
                <a:spcPts val="1245"/>
              </a:spcBef>
            </a:pPr>
            <a:r>
              <a:rPr sz="800" dirty="0">
                <a:latin typeface="Tahoma"/>
                <a:cs typeface="Tahoma"/>
              </a:rPr>
              <a:t>The</a:t>
            </a:r>
            <a:r>
              <a:rPr sz="800" spc="30" dirty="0">
                <a:latin typeface="Tahoma"/>
                <a:cs typeface="Tahoma"/>
              </a:rPr>
              <a:t> </a:t>
            </a:r>
            <a:r>
              <a:rPr sz="800" dirty="0">
                <a:latin typeface="Tahoma"/>
                <a:cs typeface="Tahoma"/>
              </a:rPr>
              <a:t>University</a:t>
            </a:r>
            <a:r>
              <a:rPr sz="800" spc="35" dirty="0">
                <a:latin typeface="Tahoma"/>
                <a:cs typeface="Tahoma"/>
              </a:rPr>
              <a:t> </a:t>
            </a:r>
            <a:r>
              <a:rPr sz="800" dirty="0">
                <a:latin typeface="Tahoma"/>
                <a:cs typeface="Tahoma"/>
              </a:rPr>
              <a:t>of</a:t>
            </a:r>
            <a:r>
              <a:rPr sz="800" spc="30" dirty="0">
                <a:latin typeface="Tahoma"/>
                <a:cs typeface="Tahoma"/>
              </a:rPr>
              <a:t> </a:t>
            </a:r>
            <a:r>
              <a:rPr sz="800" spc="-10" dirty="0">
                <a:latin typeface="Tahoma"/>
                <a:cs typeface="Tahoma"/>
              </a:rPr>
              <a:t>Toronto</a:t>
            </a:r>
            <a:endParaRPr sz="800" dirty="0">
              <a:latin typeface="Tahoma"/>
              <a:cs typeface="Tahoma"/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5" name="object 5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9" name="object 9"/>
          <p:cNvSpPr txBox="1"/>
          <p:nvPr/>
        </p:nvSpPr>
        <p:spPr>
          <a:xfrm>
            <a:off x="2194839" y="3106011"/>
            <a:ext cx="13703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6.1:</a:t>
            </a:r>
            <a:r>
              <a:rPr sz="600" spc="10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Introduction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to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Statistical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0" name="object 10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1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3</a:t>
            </a:r>
          </a:p>
        </p:txBody>
      </p:sp>
    </p:spTree>
  </p:cSld>
  <p:clrMapOvr>
    <a:masterClrMapping/>
  </p:clrMapOvr>
  <p:transition>
    <p:cut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75" dirty="0"/>
              <a:t>Inference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00444" y="898370"/>
            <a:ext cx="5559425" cy="1316990"/>
          </a:xfrm>
          <a:prstGeom prst="rect">
            <a:avLst/>
          </a:prstGeom>
        </p:spPr>
        <p:txBody>
          <a:bodyPr vert="horz" wrap="square" lIns="0" tIns="103505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815"/>
              </a:spcBef>
            </a:pPr>
            <a:r>
              <a:rPr sz="1100" dirty="0">
                <a:latin typeface="Tahoma"/>
                <a:cs typeface="Tahoma"/>
              </a:rPr>
              <a:t>We</a:t>
            </a:r>
            <a:r>
              <a:rPr sz="1100" spc="-35" dirty="0">
                <a:latin typeface="Tahoma"/>
                <a:cs typeface="Tahoma"/>
              </a:rPr>
              <a:t> want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know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how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predictor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variable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and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respons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variabl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r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related.</a:t>
            </a:r>
            <a:endParaRPr sz="1100" dirty="0">
              <a:latin typeface="Tahoma"/>
              <a:cs typeface="Tahoma"/>
            </a:endParaRPr>
          </a:p>
          <a:p>
            <a:pPr marL="314960">
              <a:lnSpc>
                <a:spcPct val="100000"/>
              </a:lnSpc>
              <a:spcBef>
                <a:spcPts val="710"/>
              </a:spcBef>
            </a:pPr>
            <a:r>
              <a:rPr sz="1100" i="1" dirty="0">
                <a:latin typeface="Calibri"/>
                <a:cs typeface="Calibri"/>
              </a:rPr>
              <a:t>Which</a:t>
            </a:r>
            <a:r>
              <a:rPr sz="1100" i="1" spc="85" dirty="0">
                <a:latin typeface="Calibri"/>
                <a:cs typeface="Calibri"/>
              </a:rPr>
              <a:t> </a:t>
            </a:r>
            <a:r>
              <a:rPr sz="1100" i="1" dirty="0">
                <a:latin typeface="Calibri"/>
                <a:cs typeface="Calibri"/>
              </a:rPr>
              <a:t>predictors</a:t>
            </a:r>
            <a:r>
              <a:rPr sz="1100" i="1" spc="90" dirty="0">
                <a:latin typeface="Calibri"/>
                <a:cs typeface="Calibri"/>
              </a:rPr>
              <a:t> </a:t>
            </a:r>
            <a:r>
              <a:rPr sz="1100" i="1" dirty="0">
                <a:latin typeface="Calibri"/>
                <a:cs typeface="Calibri"/>
              </a:rPr>
              <a:t>affect</a:t>
            </a:r>
            <a:r>
              <a:rPr sz="1100" i="1" spc="85" dirty="0">
                <a:latin typeface="Calibri"/>
                <a:cs typeface="Calibri"/>
              </a:rPr>
              <a:t> </a:t>
            </a:r>
            <a:r>
              <a:rPr sz="1100" i="1" dirty="0">
                <a:latin typeface="Calibri"/>
                <a:cs typeface="Calibri"/>
              </a:rPr>
              <a:t>the</a:t>
            </a:r>
            <a:r>
              <a:rPr sz="1100" i="1" spc="90" dirty="0">
                <a:latin typeface="Calibri"/>
                <a:cs typeface="Calibri"/>
              </a:rPr>
              <a:t> </a:t>
            </a:r>
            <a:r>
              <a:rPr sz="1100" i="1" spc="-10" dirty="0">
                <a:latin typeface="Calibri"/>
                <a:cs typeface="Calibri"/>
              </a:rPr>
              <a:t>response?</a:t>
            </a:r>
            <a:endParaRPr sz="1100" dirty="0">
              <a:latin typeface="Calibri"/>
              <a:cs typeface="Calibri"/>
            </a:endParaRPr>
          </a:p>
          <a:p>
            <a:pPr marL="314960" marR="81915">
              <a:lnSpc>
                <a:spcPct val="102600"/>
              </a:lnSpc>
            </a:pPr>
            <a:r>
              <a:rPr sz="1100" i="1" dirty="0">
                <a:latin typeface="Calibri"/>
                <a:cs typeface="Calibri"/>
              </a:rPr>
              <a:t>Is</a:t>
            </a:r>
            <a:r>
              <a:rPr sz="1100" i="1" spc="60" dirty="0">
                <a:latin typeface="Calibri"/>
                <a:cs typeface="Calibri"/>
              </a:rPr>
              <a:t> </a:t>
            </a:r>
            <a:r>
              <a:rPr sz="1100" i="1" dirty="0">
                <a:latin typeface="Calibri"/>
                <a:cs typeface="Calibri"/>
              </a:rPr>
              <a:t>a</a:t>
            </a:r>
            <a:r>
              <a:rPr sz="1100" i="1" spc="65" dirty="0">
                <a:latin typeface="Calibri"/>
                <a:cs typeface="Calibri"/>
              </a:rPr>
              <a:t> </a:t>
            </a:r>
            <a:r>
              <a:rPr sz="1100" i="1" dirty="0">
                <a:latin typeface="Calibri"/>
                <a:cs typeface="Calibri"/>
              </a:rPr>
              <a:t>linear</a:t>
            </a:r>
            <a:r>
              <a:rPr sz="1100" i="1" spc="65" dirty="0">
                <a:latin typeface="Calibri"/>
                <a:cs typeface="Calibri"/>
              </a:rPr>
              <a:t> </a:t>
            </a:r>
            <a:r>
              <a:rPr sz="1100" i="1" dirty="0">
                <a:latin typeface="Calibri"/>
                <a:cs typeface="Calibri"/>
              </a:rPr>
              <a:t>equation</a:t>
            </a:r>
            <a:r>
              <a:rPr sz="1100" i="1" spc="65" dirty="0">
                <a:latin typeface="Calibri"/>
                <a:cs typeface="Calibri"/>
              </a:rPr>
              <a:t> </a:t>
            </a:r>
            <a:r>
              <a:rPr sz="1100" i="1" dirty="0">
                <a:latin typeface="Calibri"/>
                <a:cs typeface="Calibri"/>
              </a:rPr>
              <a:t>a</a:t>
            </a:r>
            <a:r>
              <a:rPr sz="1100" i="1" spc="65" dirty="0">
                <a:latin typeface="Calibri"/>
                <a:cs typeface="Calibri"/>
              </a:rPr>
              <a:t> </a:t>
            </a:r>
            <a:r>
              <a:rPr sz="1100" i="1" dirty="0">
                <a:latin typeface="Calibri"/>
                <a:cs typeface="Calibri"/>
              </a:rPr>
              <a:t>good</a:t>
            </a:r>
            <a:r>
              <a:rPr sz="1100" i="1" spc="65" dirty="0">
                <a:latin typeface="Calibri"/>
                <a:cs typeface="Calibri"/>
              </a:rPr>
              <a:t> </a:t>
            </a:r>
            <a:r>
              <a:rPr sz="1100" i="1" spc="-10" dirty="0">
                <a:latin typeface="Calibri"/>
                <a:cs typeface="Calibri"/>
              </a:rPr>
              <a:t>approximation</a:t>
            </a:r>
            <a:r>
              <a:rPr sz="1100" i="1" spc="65" dirty="0">
                <a:latin typeface="Calibri"/>
                <a:cs typeface="Calibri"/>
              </a:rPr>
              <a:t> </a:t>
            </a:r>
            <a:r>
              <a:rPr sz="1100" i="1" dirty="0">
                <a:latin typeface="Calibri"/>
                <a:cs typeface="Calibri"/>
              </a:rPr>
              <a:t>for</a:t>
            </a:r>
            <a:r>
              <a:rPr sz="1100" i="1" spc="65" dirty="0">
                <a:latin typeface="Calibri"/>
                <a:cs typeface="Calibri"/>
              </a:rPr>
              <a:t> </a:t>
            </a:r>
            <a:r>
              <a:rPr sz="1100" i="1" dirty="0">
                <a:latin typeface="Calibri"/>
                <a:cs typeface="Calibri"/>
              </a:rPr>
              <a:t>the</a:t>
            </a:r>
            <a:r>
              <a:rPr sz="1100" i="1" spc="65" dirty="0">
                <a:latin typeface="Calibri"/>
                <a:cs typeface="Calibri"/>
              </a:rPr>
              <a:t> </a:t>
            </a:r>
            <a:r>
              <a:rPr sz="1100" i="1" dirty="0">
                <a:latin typeface="Calibri"/>
                <a:cs typeface="Calibri"/>
              </a:rPr>
              <a:t>relationship</a:t>
            </a:r>
            <a:r>
              <a:rPr sz="1100" i="1" spc="65" dirty="0">
                <a:latin typeface="Calibri"/>
                <a:cs typeface="Calibri"/>
              </a:rPr>
              <a:t> </a:t>
            </a:r>
            <a:r>
              <a:rPr sz="1100" i="1" spc="-10" dirty="0">
                <a:latin typeface="Calibri"/>
                <a:cs typeface="Calibri"/>
              </a:rPr>
              <a:t>between</a:t>
            </a:r>
            <a:r>
              <a:rPr sz="1100" i="1" spc="65" dirty="0">
                <a:latin typeface="Calibri"/>
                <a:cs typeface="Calibri"/>
              </a:rPr>
              <a:t> </a:t>
            </a:r>
            <a:r>
              <a:rPr sz="1100" i="1" dirty="0">
                <a:latin typeface="Calibri"/>
                <a:cs typeface="Calibri"/>
              </a:rPr>
              <a:t>the</a:t>
            </a:r>
            <a:r>
              <a:rPr sz="1100" i="1" spc="65" dirty="0">
                <a:latin typeface="Calibri"/>
                <a:cs typeface="Calibri"/>
              </a:rPr>
              <a:t> </a:t>
            </a:r>
            <a:r>
              <a:rPr sz="1100" i="1" dirty="0">
                <a:latin typeface="Calibri"/>
                <a:cs typeface="Calibri"/>
              </a:rPr>
              <a:t>predictors</a:t>
            </a:r>
            <a:r>
              <a:rPr sz="1100" i="1" spc="60" dirty="0">
                <a:latin typeface="Calibri"/>
                <a:cs typeface="Calibri"/>
              </a:rPr>
              <a:t> </a:t>
            </a:r>
            <a:r>
              <a:rPr sz="1100" i="1" spc="-25" dirty="0">
                <a:latin typeface="Calibri"/>
                <a:cs typeface="Calibri"/>
              </a:rPr>
              <a:t>and </a:t>
            </a:r>
            <a:r>
              <a:rPr sz="1100" i="1" dirty="0">
                <a:latin typeface="Calibri"/>
                <a:cs typeface="Calibri"/>
              </a:rPr>
              <a:t>the</a:t>
            </a:r>
            <a:r>
              <a:rPr sz="1100" i="1" spc="95" dirty="0">
                <a:latin typeface="Calibri"/>
                <a:cs typeface="Calibri"/>
              </a:rPr>
              <a:t> </a:t>
            </a:r>
            <a:r>
              <a:rPr sz="1100" i="1" spc="-10" dirty="0">
                <a:latin typeface="Calibri"/>
                <a:cs typeface="Calibri"/>
              </a:rPr>
              <a:t>response?</a:t>
            </a:r>
            <a:endParaRPr sz="1100" dirty="0">
              <a:latin typeface="Calibri"/>
              <a:cs typeface="Calibri"/>
            </a:endParaRPr>
          </a:p>
          <a:p>
            <a:pPr marL="38100" marR="30480">
              <a:lnSpc>
                <a:spcPct val="102600"/>
              </a:lnSpc>
              <a:spcBef>
                <a:spcPts val="680"/>
              </a:spcBef>
            </a:pPr>
            <a:r>
              <a:rPr sz="1100" spc="-80" dirty="0">
                <a:latin typeface="Tahoma"/>
                <a:cs typeface="Tahoma"/>
              </a:rPr>
              <a:t>In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each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case,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5" dirty="0">
                <a:latin typeface="Tahoma"/>
                <a:cs typeface="Tahoma"/>
              </a:rPr>
              <a:t>we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do</a:t>
            </a:r>
            <a:r>
              <a:rPr sz="1100" spc="-6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not</a:t>
            </a:r>
            <a:r>
              <a:rPr sz="1100" spc="-9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want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mak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predictions </a:t>
            </a:r>
            <a:r>
              <a:rPr sz="1100" spc="-30" dirty="0">
                <a:latin typeface="Tahoma"/>
                <a:cs typeface="Tahoma"/>
              </a:rPr>
              <a:t>for </a:t>
            </a:r>
            <a:r>
              <a:rPr sz="1100" dirty="0">
                <a:latin typeface="Cambria"/>
                <a:cs typeface="Cambria"/>
              </a:rPr>
              <a:t>𝑌</a:t>
            </a:r>
            <a:r>
              <a:rPr sz="1100" spc="270" dirty="0">
                <a:latin typeface="Cambria"/>
                <a:cs typeface="Cambria"/>
              </a:rPr>
              <a:t> </a:t>
            </a:r>
            <a:r>
              <a:rPr sz="1100" spc="-35" dirty="0">
                <a:latin typeface="Tahoma"/>
                <a:cs typeface="Tahoma"/>
              </a:rPr>
              <a:t>using </a:t>
            </a:r>
            <a:r>
              <a:rPr sz="1100" spc="-60" dirty="0">
                <a:latin typeface="Cambria"/>
                <a:cs typeface="Cambria"/>
              </a:rPr>
              <a:t>𝑓</a:t>
            </a:r>
            <a:r>
              <a:rPr sz="1100" spc="-145" dirty="0">
                <a:latin typeface="Cambria"/>
                <a:cs typeface="Cambria"/>
              </a:rPr>
              <a:t> </a:t>
            </a:r>
            <a:r>
              <a:rPr sz="1100" spc="-20" dirty="0">
                <a:latin typeface="Tahoma"/>
                <a:cs typeface="Tahoma"/>
              </a:rPr>
              <a:t>,</a:t>
            </a:r>
            <a:r>
              <a:rPr sz="1650" spc="-30" baseline="15151" dirty="0">
                <a:latin typeface="Cambria"/>
                <a:cs typeface="Cambria"/>
              </a:rPr>
              <a:t>̂</a:t>
            </a:r>
            <a:r>
              <a:rPr sz="1650" spc="284" baseline="15151" dirty="0">
                <a:latin typeface="Cambria"/>
                <a:cs typeface="Cambria"/>
              </a:rPr>
              <a:t> </a:t>
            </a:r>
            <a:r>
              <a:rPr sz="1100" spc="-105" dirty="0">
                <a:latin typeface="Tahoma"/>
                <a:cs typeface="Tahoma"/>
              </a:rPr>
              <a:t>we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want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find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true</a:t>
            </a:r>
            <a:r>
              <a:rPr sz="1100" spc="-35" dirty="0">
                <a:latin typeface="Tahoma"/>
                <a:cs typeface="Tahoma"/>
              </a:rPr>
              <a:t> form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60" dirty="0">
                <a:latin typeface="Cambria"/>
                <a:cs typeface="Cambria"/>
              </a:rPr>
              <a:t>𝑓</a:t>
            </a:r>
            <a:r>
              <a:rPr sz="1100" spc="-145" dirty="0">
                <a:latin typeface="Cambria"/>
                <a:cs typeface="Cambria"/>
              </a:rPr>
              <a:t> </a:t>
            </a:r>
            <a:r>
              <a:rPr sz="1100" spc="-50" dirty="0">
                <a:latin typeface="Tahoma"/>
                <a:cs typeface="Tahoma"/>
              </a:rPr>
              <a:t>.</a:t>
            </a:r>
            <a:endParaRPr sz="1100" dirty="0">
              <a:latin typeface="Tahoma"/>
              <a:cs typeface="Tahoma"/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5" name="object 5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209032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9" name="object 9"/>
          <p:cNvSpPr txBox="1"/>
          <p:nvPr/>
        </p:nvSpPr>
        <p:spPr>
          <a:xfrm>
            <a:off x="2194839" y="3106011"/>
            <a:ext cx="13703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6.1:</a:t>
            </a:r>
            <a:r>
              <a:rPr sz="600" spc="1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Introduction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to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Statistical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0" name="object 10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10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3</a:t>
            </a:r>
          </a:p>
        </p:txBody>
      </p:sp>
    </p:spTree>
  </p:cSld>
  <p:clrMapOvr>
    <a:masterClrMapping/>
  </p:clrMapOvr>
  <p:transition>
    <p:cut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5"/>
              </a:spcBef>
            </a:pPr>
            <a:r>
              <a:rPr spc="-20" dirty="0"/>
              <a:t>How</a:t>
            </a:r>
            <a:r>
              <a:rPr spc="-90" dirty="0"/>
              <a:t> </a:t>
            </a:r>
            <a:r>
              <a:rPr dirty="0"/>
              <a:t>do</a:t>
            </a:r>
            <a:r>
              <a:rPr spc="-55" dirty="0"/>
              <a:t> </a:t>
            </a:r>
            <a:r>
              <a:rPr spc="-110" dirty="0"/>
              <a:t>we</a:t>
            </a:r>
            <a:r>
              <a:rPr spc="5" dirty="0"/>
              <a:t> </a:t>
            </a:r>
            <a:r>
              <a:rPr spc="-20" dirty="0"/>
              <a:t>Estimate</a:t>
            </a:r>
            <a:r>
              <a:rPr spc="-45" dirty="0"/>
              <a:t> </a:t>
            </a:r>
            <a:r>
              <a:rPr sz="1450" spc="-25" dirty="0">
                <a:latin typeface="Cambria"/>
                <a:cs typeface="Cambria"/>
              </a:rPr>
              <a:t>𝑓</a:t>
            </a:r>
            <a:r>
              <a:rPr spc="-25" dirty="0"/>
              <a:t>?</a:t>
            </a:r>
            <a:endParaRPr sz="1450">
              <a:latin typeface="Cambria"/>
              <a:cs typeface="Cambri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25844" y="987005"/>
            <a:ext cx="5484495" cy="122872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192405">
              <a:lnSpc>
                <a:spcPct val="102600"/>
              </a:lnSpc>
              <a:spcBef>
                <a:spcPts val="90"/>
              </a:spcBef>
            </a:pPr>
            <a:r>
              <a:rPr sz="1100" spc="-40" dirty="0">
                <a:latin typeface="Tahoma"/>
                <a:cs typeface="Tahoma"/>
              </a:rPr>
              <a:t>Assume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hat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95" dirty="0">
                <a:latin typeface="Tahoma"/>
                <a:cs typeface="Tahoma"/>
              </a:rPr>
              <a:t>w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hav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Cambria"/>
                <a:cs typeface="Cambria"/>
              </a:rPr>
              <a:t>𝑛</a:t>
            </a:r>
            <a:r>
              <a:rPr sz="1100" spc="75" dirty="0">
                <a:latin typeface="Cambria"/>
                <a:cs typeface="Cambria"/>
              </a:rPr>
              <a:t> </a:t>
            </a:r>
            <a:r>
              <a:rPr sz="1100" spc="-45" dirty="0">
                <a:latin typeface="Tahoma"/>
                <a:cs typeface="Tahoma"/>
              </a:rPr>
              <a:t>observation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n</a:t>
            </a:r>
            <a:r>
              <a:rPr sz="1100" spc="-30" dirty="0">
                <a:latin typeface="Tahoma"/>
                <a:cs typeface="Tahoma"/>
              </a:rPr>
              <a:t> our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data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set.</a:t>
            </a:r>
            <a:r>
              <a:rPr sz="1100" spc="8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standard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approach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split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the </a:t>
            </a:r>
            <a:r>
              <a:rPr sz="1100" spc="-10" dirty="0">
                <a:latin typeface="Tahoma"/>
                <a:cs typeface="Tahoma"/>
              </a:rPr>
              <a:t>data</a:t>
            </a:r>
            <a:r>
              <a:rPr sz="1100" spc="-6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set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nto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training</a:t>
            </a:r>
            <a:r>
              <a:rPr sz="1100" spc="-6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data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and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testing</a:t>
            </a:r>
            <a:r>
              <a:rPr sz="1100" spc="-6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data.</a:t>
            </a:r>
            <a:endParaRPr sz="1100">
              <a:latin typeface="Tahoma"/>
              <a:cs typeface="Tahoma"/>
            </a:endParaRPr>
          </a:p>
          <a:p>
            <a:pPr marL="289560">
              <a:lnSpc>
                <a:spcPct val="100000"/>
              </a:lnSpc>
              <a:spcBef>
                <a:spcPts val="710"/>
              </a:spcBef>
            </a:pPr>
            <a:r>
              <a:rPr sz="1100" spc="-114" dirty="0">
                <a:latin typeface="Arial Black"/>
                <a:cs typeface="Arial Black"/>
              </a:rPr>
              <a:t>training</a:t>
            </a:r>
            <a:r>
              <a:rPr sz="1100" spc="20" dirty="0">
                <a:latin typeface="Arial Black"/>
                <a:cs typeface="Arial Black"/>
              </a:rPr>
              <a:t> </a:t>
            </a:r>
            <a:r>
              <a:rPr sz="1100" spc="-135" dirty="0">
                <a:latin typeface="Arial Black"/>
                <a:cs typeface="Arial Black"/>
              </a:rPr>
              <a:t>data</a:t>
            </a:r>
            <a:r>
              <a:rPr sz="1100" spc="-5" dirty="0">
                <a:latin typeface="Arial Black"/>
                <a:cs typeface="Arial Black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8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used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7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rain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or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teach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statistical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method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95" dirty="0">
                <a:latin typeface="Tahoma"/>
                <a:cs typeface="Tahoma"/>
              </a:rPr>
              <a:t>we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r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using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estimat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60" dirty="0">
                <a:latin typeface="Cambria"/>
                <a:cs typeface="Cambria"/>
              </a:rPr>
              <a:t>𝑓</a:t>
            </a:r>
            <a:r>
              <a:rPr sz="1100" spc="-145" dirty="0">
                <a:latin typeface="Cambria"/>
                <a:cs typeface="Cambria"/>
              </a:rPr>
              <a:t> </a:t>
            </a:r>
            <a:r>
              <a:rPr sz="1100" spc="-50" dirty="0">
                <a:latin typeface="Tahoma"/>
                <a:cs typeface="Tahoma"/>
              </a:rPr>
              <a:t>.</a:t>
            </a:r>
            <a:endParaRPr sz="1100">
              <a:latin typeface="Tahoma"/>
              <a:cs typeface="Tahoma"/>
            </a:endParaRPr>
          </a:p>
          <a:p>
            <a:pPr marL="289560">
              <a:lnSpc>
                <a:spcPct val="100000"/>
              </a:lnSpc>
              <a:spcBef>
                <a:spcPts val="35"/>
              </a:spcBef>
            </a:pPr>
            <a:r>
              <a:rPr sz="1100" spc="-125" dirty="0">
                <a:latin typeface="Arial Black"/>
                <a:cs typeface="Arial Black"/>
              </a:rPr>
              <a:t>testing</a:t>
            </a:r>
            <a:r>
              <a:rPr sz="1100" spc="30" dirty="0">
                <a:latin typeface="Arial Black"/>
                <a:cs typeface="Arial Black"/>
              </a:rPr>
              <a:t> </a:t>
            </a:r>
            <a:r>
              <a:rPr sz="1100" spc="-135" dirty="0">
                <a:latin typeface="Arial Black"/>
                <a:cs typeface="Arial Black"/>
              </a:rPr>
              <a:t>data</a:t>
            </a:r>
            <a:r>
              <a:rPr sz="1100" spc="-5" dirty="0">
                <a:latin typeface="Arial Black"/>
                <a:cs typeface="Arial Black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9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used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8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est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accuracy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resulting</a:t>
            </a:r>
            <a:r>
              <a:rPr sz="1100" spc="-30" dirty="0">
                <a:latin typeface="Tahoma"/>
                <a:cs typeface="Tahoma"/>
              </a:rPr>
              <a:t> estimate </a:t>
            </a:r>
            <a:r>
              <a:rPr sz="1100" spc="-20" dirty="0">
                <a:latin typeface="Tahoma"/>
                <a:cs typeface="Tahoma"/>
              </a:rPr>
              <a:t>for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Cambria"/>
                <a:cs typeface="Cambria"/>
              </a:rPr>
              <a:t>𝑓</a:t>
            </a:r>
            <a:r>
              <a:rPr sz="1100" spc="155" dirty="0">
                <a:latin typeface="Cambria"/>
                <a:cs typeface="Cambria"/>
              </a:rPr>
              <a:t> </a:t>
            </a:r>
            <a:r>
              <a:rPr sz="1100" spc="-10" dirty="0">
                <a:latin typeface="Tahoma"/>
                <a:cs typeface="Tahoma"/>
              </a:rPr>
              <a:t>on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new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data.</a:t>
            </a:r>
            <a:endParaRPr sz="11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715"/>
              </a:spcBef>
            </a:pPr>
            <a:r>
              <a:rPr sz="1100" spc="-65" dirty="0">
                <a:latin typeface="Tahoma"/>
                <a:cs typeface="Tahoma"/>
              </a:rPr>
              <a:t>In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general,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6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statistical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learning method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used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estimat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Cambria"/>
                <a:cs typeface="Cambria"/>
              </a:rPr>
              <a:t>𝑓</a:t>
            </a:r>
            <a:r>
              <a:rPr sz="1100" spc="155" dirty="0">
                <a:latin typeface="Cambria"/>
                <a:cs typeface="Cambria"/>
              </a:rPr>
              <a:t> </a:t>
            </a:r>
            <a:r>
              <a:rPr sz="1100" spc="-20" dirty="0">
                <a:latin typeface="Tahoma"/>
                <a:cs typeface="Tahoma"/>
              </a:rPr>
              <a:t>can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b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characterized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as</a:t>
            </a:r>
            <a:endParaRPr sz="11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35"/>
              </a:spcBef>
            </a:pPr>
            <a:r>
              <a:rPr sz="1100" spc="-135" dirty="0">
                <a:latin typeface="Arial Black"/>
                <a:cs typeface="Arial Black"/>
              </a:rPr>
              <a:t>parametric</a:t>
            </a:r>
            <a:r>
              <a:rPr sz="1100" spc="-135" dirty="0">
                <a:latin typeface="Tahoma"/>
                <a:cs typeface="Tahoma"/>
              </a:rPr>
              <a:t>,</a:t>
            </a:r>
            <a:r>
              <a:rPr sz="1100" spc="4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and</a:t>
            </a:r>
            <a:r>
              <a:rPr sz="1100" spc="45" dirty="0">
                <a:latin typeface="Tahoma"/>
                <a:cs typeface="Tahoma"/>
              </a:rPr>
              <a:t> </a:t>
            </a:r>
            <a:r>
              <a:rPr sz="1100" spc="-110" dirty="0">
                <a:latin typeface="Arial Black"/>
                <a:cs typeface="Arial Black"/>
              </a:rPr>
              <a:t>non-</a:t>
            </a:r>
            <a:r>
              <a:rPr sz="1100" spc="-35" dirty="0">
                <a:latin typeface="Arial Black"/>
                <a:cs typeface="Arial Black"/>
              </a:rPr>
              <a:t>parametric</a:t>
            </a:r>
            <a:r>
              <a:rPr sz="1100" spc="-35" dirty="0">
                <a:latin typeface="Tahoma"/>
                <a:cs typeface="Tahoma"/>
              </a:rPr>
              <a:t>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5" name="object 5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209032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9" name="object 9"/>
          <p:cNvSpPr txBox="1"/>
          <p:nvPr/>
        </p:nvSpPr>
        <p:spPr>
          <a:xfrm>
            <a:off x="2194839" y="3106011"/>
            <a:ext cx="13703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6.1:</a:t>
            </a:r>
            <a:r>
              <a:rPr sz="600" spc="1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Introduction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to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Statistical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0" name="object 10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11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3</a:t>
            </a:r>
          </a:p>
        </p:txBody>
      </p:sp>
    </p:spTree>
  </p:cSld>
  <p:clrMapOvr>
    <a:masterClrMapping/>
  </p:clrMapOvr>
  <p:transition>
    <p:cut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41A73E34-030C-B12C-8615-1BE2BB0E7E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2440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A73E34-030C-B12C-8615-1BE2BB0E7E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object 5"/>
          <p:cNvGrpSpPr/>
          <p:nvPr/>
        </p:nvGrpSpPr>
        <p:grpSpPr>
          <a:xfrm>
            <a:off x="87743" y="1358180"/>
            <a:ext cx="5584825" cy="1413518"/>
            <a:chOff x="87743" y="1420420"/>
            <a:chExt cx="5635625" cy="1290320"/>
          </a:xfrm>
        </p:grpSpPr>
        <p:sp>
          <p:nvSpPr>
            <p:cNvPr id="6" name="object 6"/>
            <p:cNvSpPr/>
            <p:nvPr/>
          </p:nvSpPr>
          <p:spPr>
            <a:xfrm>
              <a:off x="138544" y="1420420"/>
              <a:ext cx="5584825" cy="1290320"/>
            </a:xfrm>
            <a:custGeom>
              <a:avLst/>
              <a:gdLst/>
              <a:ahLst/>
              <a:cxnLst/>
              <a:rect l="l" t="t" r="r" b="b"/>
              <a:pathLst>
                <a:path w="5584825" h="1290320">
                  <a:moveTo>
                    <a:pt x="5584580" y="0"/>
                  </a:moveTo>
                  <a:lnTo>
                    <a:pt x="0" y="0"/>
                  </a:lnTo>
                  <a:lnTo>
                    <a:pt x="0" y="1289861"/>
                  </a:lnTo>
                  <a:lnTo>
                    <a:pt x="5584580" y="1289861"/>
                  </a:lnTo>
                  <a:lnTo>
                    <a:pt x="558458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87743" y="1593348"/>
              <a:ext cx="5584825" cy="1066165"/>
            </a:xfrm>
            <a:custGeom>
              <a:avLst/>
              <a:gdLst/>
              <a:ahLst/>
              <a:cxnLst/>
              <a:rect l="l" t="t" r="r" b="b"/>
              <a:pathLst>
                <a:path w="5584825" h="1066164">
                  <a:moveTo>
                    <a:pt x="5584580" y="0"/>
                  </a:moveTo>
                  <a:lnTo>
                    <a:pt x="0" y="0"/>
                  </a:lnTo>
                  <a:lnTo>
                    <a:pt x="0" y="1015333"/>
                  </a:lnTo>
                  <a:lnTo>
                    <a:pt x="4008" y="1035057"/>
                  </a:lnTo>
                  <a:lnTo>
                    <a:pt x="14922" y="1051210"/>
                  </a:lnTo>
                  <a:lnTo>
                    <a:pt x="31075" y="1062125"/>
                  </a:lnTo>
                  <a:lnTo>
                    <a:pt x="50800" y="1066133"/>
                  </a:lnTo>
                  <a:lnTo>
                    <a:pt x="5533780" y="1066133"/>
                  </a:lnTo>
                  <a:lnTo>
                    <a:pt x="5553505" y="1062125"/>
                  </a:lnTo>
                  <a:lnTo>
                    <a:pt x="5569658" y="1051210"/>
                  </a:lnTo>
                  <a:lnTo>
                    <a:pt x="5580572" y="1035057"/>
                  </a:lnTo>
                  <a:lnTo>
                    <a:pt x="5584580" y="1015333"/>
                  </a:lnTo>
                  <a:lnTo>
                    <a:pt x="5584580" y="0"/>
                  </a:lnTo>
                  <a:close/>
                </a:path>
              </a:pathLst>
            </a:custGeom>
            <a:solidFill>
              <a:srgbClr val="E5E5E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1530985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30" dirty="0"/>
              <a:t>Parametric</a:t>
            </a:r>
            <a:r>
              <a:rPr spc="-15" dirty="0"/>
              <a:t> </a:t>
            </a:r>
            <a:r>
              <a:rPr spc="-10" dirty="0"/>
              <a:t>Methods</a:t>
            </a:r>
          </a:p>
        </p:txBody>
      </p:sp>
      <p:sp>
        <p:nvSpPr>
          <p:cNvPr id="3" name="object 3"/>
          <p:cNvSpPr/>
          <p:nvPr/>
        </p:nvSpPr>
        <p:spPr>
          <a:xfrm>
            <a:off x="87743" y="1363496"/>
            <a:ext cx="5584825" cy="198755"/>
          </a:xfrm>
          <a:custGeom>
            <a:avLst/>
            <a:gdLst/>
            <a:ahLst/>
            <a:cxnLst/>
            <a:rect l="l" t="t" r="r" b="b"/>
            <a:pathLst>
              <a:path w="5584825" h="198755">
                <a:moveTo>
                  <a:pt x="5533780" y="0"/>
                </a:moveTo>
                <a:lnTo>
                  <a:pt x="50800" y="0"/>
                </a:lnTo>
                <a:lnTo>
                  <a:pt x="31075" y="4008"/>
                </a:lnTo>
                <a:lnTo>
                  <a:pt x="14922" y="14922"/>
                </a:lnTo>
                <a:lnTo>
                  <a:pt x="4008" y="31075"/>
                </a:lnTo>
                <a:lnTo>
                  <a:pt x="0" y="50800"/>
                </a:lnTo>
                <a:lnTo>
                  <a:pt x="0" y="198232"/>
                </a:lnTo>
                <a:lnTo>
                  <a:pt x="5584580" y="198232"/>
                </a:lnTo>
                <a:lnTo>
                  <a:pt x="5584580" y="50800"/>
                </a:lnTo>
                <a:lnTo>
                  <a:pt x="5580572" y="31075"/>
                </a:lnTo>
                <a:lnTo>
                  <a:pt x="5569658" y="14922"/>
                </a:lnTo>
                <a:lnTo>
                  <a:pt x="5553505" y="4008"/>
                </a:lnTo>
                <a:lnTo>
                  <a:pt x="5533780" y="0"/>
                </a:lnTo>
                <a:close/>
              </a:path>
            </a:pathLst>
          </a:custGeom>
          <a:solidFill>
            <a:srgbClr val="03506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>
            <a:off x="138544" y="1331756"/>
            <a:ext cx="522605" cy="222250"/>
          </a:xfrm>
          <a:prstGeom prst="rect">
            <a:avLst/>
          </a:prstGeom>
        </p:spPr>
        <p:txBody>
          <a:bodyPr vert="horz" wrap="square" lIns="0" tIns="2286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80"/>
              </a:spcBef>
            </a:pPr>
            <a:r>
              <a:rPr sz="1200" spc="-70" dirty="0">
                <a:solidFill>
                  <a:srgbClr val="FFFFFF"/>
                </a:solidFill>
                <a:latin typeface="Tahoma"/>
                <a:cs typeface="Tahoma"/>
              </a:rPr>
              <a:t>Example</a:t>
            </a:r>
            <a:endParaRPr sz="1200">
              <a:latin typeface="Tahoma"/>
              <a:cs typeface="Tahoma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75044" y="567140"/>
            <a:ext cx="5635625" cy="2059939"/>
          </a:xfrm>
          <a:prstGeom prst="rect">
            <a:avLst/>
          </a:prstGeom>
        </p:spPr>
        <p:txBody>
          <a:bodyPr vert="horz" wrap="square" lIns="0" tIns="96520" rIns="0" bIns="0" rtlCol="0">
            <a:spAutoFit/>
          </a:bodyPr>
          <a:lstStyle/>
          <a:p>
            <a:pPr marL="63500">
              <a:lnSpc>
                <a:spcPct val="100000"/>
              </a:lnSpc>
              <a:spcBef>
                <a:spcPts val="760"/>
              </a:spcBef>
            </a:pPr>
            <a:r>
              <a:rPr sz="1100" dirty="0">
                <a:latin typeface="Tahoma"/>
                <a:cs typeface="Tahoma"/>
              </a:rPr>
              <a:t>Thi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approach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implemented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n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wo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steps:</a:t>
            </a:r>
            <a:endParaRPr sz="1100" dirty="0">
              <a:latin typeface="Tahoma"/>
              <a:cs typeface="Tahoma"/>
            </a:endParaRPr>
          </a:p>
          <a:p>
            <a:pPr marL="340360" marR="1919605">
              <a:lnSpc>
                <a:spcPct val="102600"/>
              </a:lnSpc>
              <a:spcBef>
                <a:spcPts val="680"/>
              </a:spcBef>
            </a:pPr>
            <a:r>
              <a:rPr sz="1100" dirty="0">
                <a:latin typeface="Tahoma"/>
                <a:cs typeface="Tahoma"/>
              </a:rPr>
              <a:t>Make</a:t>
            </a:r>
            <a:r>
              <a:rPr sz="1100" spc="-6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an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assumption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about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functional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form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60" dirty="0">
                <a:latin typeface="Cambria"/>
                <a:cs typeface="Cambria"/>
              </a:rPr>
              <a:t>𝑓</a:t>
            </a:r>
            <a:r>
              <a:rPr sz="1100" spc="-145" dirty="0">
                <a:latin typeface="Cambria"/>
                <a:cs typeface="Cambria"/>
              </a:rPr>
              <a:t> </a:t>
            </a:r>
            <a:r>
              <a:rPr sz="1100" spc="-50" dirty="0">
                <a:latin typeface="Tahoma"/>
                <a:cs typeface="Tahoma"/>
              </a:rPr>
              <a:t>. </a:t>
            </a:r>
            <a:r>
              <a:rPr sz="1100" spc="-40" dirty="0">
                <a:latin typeface="Tahoma"/>
                <a:cs typeface="Tahoma"/>
              </a:rPr>
              <a:t>Develop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procedur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fit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model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training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data.</a:t>
            </a:r>
            <a:endParaRPr sz="1100" dirty="0">
              <a:latin typeface="Tahoma"/>
              <a:cs typeface="Tahoma"/>
            </a:endParaRPr>
          </a:p>
          <a:p>
            <a:pPr>
              <a:lnSpc>
                <a:spcPct val="100000"/>
              </a:lnSpc>
              <a:spcBef>
                <a:spcPts val="1185"/>
              </a:spcBef>
            </a:pPr>
            <a:endParaRPr sz="1100" dirty="0">
              <a:latin typeface="Tahoma"/>
              <a:cs typeface="Tahoma"/>
            </a:endParaRPr>
          </a:p>
          <a:p>
            <a:pPr marL="340360" marR="81280">
              <a:lnSpc>
                <a:spcPct val="102600"/>
              </a:lnSpc>
              <a:spcBef>
                <a:spcPts val="5"/>
              </a:spcBef>
            </a:pPr>
            <a:r>
              <a:rPr sz="1100" spc="-45" dirty="0">
                <a:latin typeface="Tahoma"/>
                <a:cs typeface="Tahoma"/>
              </a:rPr>
              <a:t>Suppose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dirty="0">
                <a:latin typeface="Cambria"/>
                <a:cs typeface="Cambria"/>
              </a:rPr>
              <a:t>𝑓</a:t>
            </a:r>
            <a:r>
              <a:rPr sz="1100" spc="190" dirty="0">
                <a:latin typeface="Cambria"/>
                <a:cs typeface="Cambri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linear</a:t>
            </a:r>
            <a:r>
              <a:rPr sz="1100" spc="-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n</a:t>
            </a:r>
            <a:r>
              <a:rPr sz="1100" spc="-5" dirty="0">
                <a:latin typeface="Tahoma"/>
                <a:cs typeface="Tahoma"/>
              </a:rPr>
              <a:t> </a:t>
            </a:r>
            <a:r>
              <a:rPr sz="1100" spc="90" dirty="0">
                <a:latin typeface="Cambria"/>
                <a:cs typeface="Cambria"/>
              </a:rPr>
              <a:t>𝑋</a:t>
            </a:r>
            <a:r>
              <a:rPr sz="1100" spc="90" dirty="0">
                <a:latin typeface="Tahoma"/>
                <a:cs typeface="Tahoma"/>
              </a:rPr>
              <a:t>:</a:t>
            </a:r>
            <a:r>
              <a:rPr sz="1100" spc="114" dirty="0">
                <a:latin typeface="Tahoma"/>
                <a:cs typeface="Tahoma"/>
              </a:rPr>
              <a:t> </a:t>
            </a:r>
            <a:r>
              <a:rPr sz="1100" spc="80" dirty="0">
                <a:latin typeface="Cambria"/>
                <a:cs typeface="Cambria"/>
              </a:rPr>
              <a:t>𝑓(𝑋)</a:t>
            </a:r>
            <a:r>
              <a:rPr sz="1100" spc="5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6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𝛽</a:t>
            </a:r>
            <a:r>
              <a:rPr sz="1125" baseline="-22222" dirty="0">
                <a:latin typeface="Cambria"/>
                <a:cs typeface="Cambria"/>
              </a:rPr>
              <a:t>0</a:t>
            </a:r>
            <a:r>
              <a:rPr sz="1125" spc="142" baseline="-22222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+</a:t>
            </a:r>
            <a:r>
              <a:rPr sz="1100" spc="-30" dirty="0">
                <a:latin typeface="Cambria"/>
                <a:cs typeface="Cambria"/>
              </a:rPr>
              <a:t> </a:t>
            </a:r>
            <a:r>
              <a:rPr sz="1100" spc="70" dirty="0">
                <a:latin typeface="Cambria"/>
                <a:cs typeface="Cambria"/>
              </a:rPr>
              <a:t>𝛽</a:t>
            </a:r>
            <a:r>
              <a:rPr sz="1125" spc="104" baseline="-22222" dirty="0">
                <a:latin typeface="Cambria"/>
                <a:cs typeface="Cambria"/>
              </a:rPr>
              <a:t>1</a:t>
            </a:r>
            <a:r>
              <a:rPr sz="1100" spc="70" dirty="0">
                <a:latin typeface="Cambria"/>
                <a:cs typeface="Cambria"/>
              </a:rPr>
              <a:t>𝑋</a:t>
            </a:r>
            <a:r>
              <a:rPr sz="1125" spc="104" baseline="-22222" dirty="0">
                <a:latin typeface="Cambria"/>
                <a:cs typeface="Cambria"/>
              </a:rPr>
              <a:t>1</a:t>
            </a:r>
            <a:r>
              <a:rPr sz="1125" spc="135" baseline="-22222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+</a:t>
            </a:r>
            <a:r>
              <a:rPr sz="1100" spc="-30" dirty="0">
                <a:latin typeface="Cambria"/>
                <a:cs typeface="Cambria"/>
              </a:rPr>
              <a:t> </a:t>
            </a:r>
            <a:r>
              <a:rPr sz="1100" spc="70" dirty="0">
                <a:latin typeface="Cambria"/>
                <a:cs typeface="Cambria"/>
              </a:rPr>
              <a:t>𝛽</a:t>
            </a:r>
            <a:r>
              <a:rPr sz="1125" spc="104" baseline="-22222" dirty="0">
                <a:latin typeface="Cambria"/>
                <a:cs typeface="Cambria"/>
              </a:rPr>
              <a:t>2</a:t>
            </a:r>
            <a:r>
              <a:rPr sz="1100" spc="70" dirty="0">
                <a:latin typeface="Cambria"/>
                <a:cs typeface="Cambria"/>
              </a:rPr>
              <a:t>𝑋</a:t>
            </a:r>
            <a:r>
              <a:rPr sz="1125" spc="104" baseline="-22222" dirty="0">
                <a:latin typeface="Cambria"/>
                <a:cs typeface="Cambria"/>
              </a:rPr>
              <a:t>2</a:t>
            </a:r>
            <a:r>
              <a:rPr sz="1125" spc="142" baseline="-22222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+</a:t>
            </a:r>
            <a:r>
              <a:rPr sz="1100" spc="-35" dirty="0">
                <a:latin typeface="Cambria"/>
                <a:cs typeface="Cambria"/>
              </a:rPr>
              <a:t> </a:t>
            </a:r>
            <a:r>
              <a:rPr sz="1100" spc="-75" dirty="0">
                <a:latin typeface="Cambria"/>
                <a:cs typeface="Cambria"/>
              </a:rPr>
              <a:t>⋯</a:t>
            </a:r>
            <a:r>
              <a:rPr sz="1100" spc="-20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+</a:t>
            </a:r>
            <a:r>
              <a:rPr sz="1100" spc="-25" dirty="0">
                <a:latin typeface="Cambria"/>
                <a:cs typeface="Cambria"/>
              </a:rPr>
              <a:t> </a:t>
            </a:r>
            <a:r>
              <a:rPr sz="1100" spc="65" dirty="0">
                <a:latin typeface="Cambria"/>
                <a:cs typeface="Cambria"/>
              </a:rPr>
              <a:t>𝛽</a:t>
            </a:r>
            <a:r>
              <a:rPr sz="1125" spc="97" baseline="-22222" dirty="0">
                <a:latin typeface="Cambria"/>
                <a:cs typeface="Cambria"/>
              </a:rPr>
              <a:t>𝑝</a:t>
            </a:r>
            <a:r>
              <a:rPr sz="1100" spc="65" dirty="0">
                <a:latin typeface="Cambria"/>
                <a:cs typeface="Cambria"/>
              </a:rPr>
              <a:t>𝑋</a:t>
            </a:r>
            <a:r>
              <a:rPr sz="1125" spc="97" baseline="-22222" dirty="0">
                <a:latin typeface="Cambria"/>
                <a:cs typeface="Cambria"/>
              </a:rPr>
              <a:t>𝑝</a:t>
            </a:r>
            <a:r>
              <a:rPr sz="1100" spc="65" dirty="0">
                <a:latin typeface="Tahoma"/>
                <a:cs typeface="Tahoma"/>
              </a:rPr>
              <a:t>.</a:t>
            </a:r>
            <a:r>
              <a:rPr sz="1100" spc="1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his</a:t>
            </a:r>
            <a:r>
              <a:rPr sz="1100" spc="-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assumption</a:t>
            </a:r>
            <a:r>
              <a:rPr sz="1100" spc="-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has </a:t>
            </a:r>
            <a:r>
              <a:rPr sz="1100" spc="-50" dirty="0">
                <a:latin typeface="Tahoma"/>
                <a:cs typeface="Tahoma"/>
              </a:rPr>
              <a:t>reduced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number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parameter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hat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need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b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fit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significantly </a:t>
            </a:r>
            <a:r>
              <a:rPr sz="1100" spc="-55" dirty="0">
                <a:latin typeface="Tahoma"/>
                <a:cs typeface="Tahoma"/>
              </a:rPr>
              <a:t>compared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fitting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a </a:t>
            </a:r>
            <a:r>
              <a:rPr sz="1100" spc="-45" dirty="0">
                <a:latin typeface="Tahoma"/>
                <a:cs typeface="Tahoma"/>
              </a:rPr>
              <a:t>generic</a:t>
            </a:r>
            <a:r>
              <a:rPr sz="1100" spc="-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p-</a:t>
            </a:r>
            <a:r>
              <a:rPr sz="1100" spc="-40" dirty="0">
                <a:latin typeface="Tahoma"/>
                <a:cs typeface="Tahoma"/>
              </a:rPr>
              <a:t>dimensional</a:t>
            </a:r>
            <a:r>
              <a:rPr sz="1100" spc="-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function.</a:t>
            </a:r>
            <a:endParaRPr sz="1100" dirty="0">
              <a:latin typeface="Tahoma"/>
              <a:cs typeface="Tahoma"/>
            </a:endParaRPr>
          </a:p>
          <a:p>
            <a:pPr marL="340360" marR="159385" algn="just">
              <a:lnSpc>
                <a:spcPct val="102600"/>
              </a:lnSpc>
            </a:pPr>
            <a:r>
              <a:rPr sz="1100" spc="-45" dirty="0">
                <a:latin typeface="Tahoma"/>
                <a:cs typeface="Tahoma"/>
              </a:rPr>
              <a:t>W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75" dirty="0">
                <a:latin typeface="Tahoma"/>
                <a:cs typeface="Tahoma"/>
              </a:rPr>
              <a:t>need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to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estimat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40" dirty="0">
                <a:latin typeface="Cambria"/>
                <a:cs typeface="Cambria"/>
              </a:rPr>
              <a:t>𝛽</a:t>
            </a:r>
            <a:r>
              <a:rPr sz="1125" spc="60" baseline="-22222" dirty="0">
                <a:latin typeface="Cambria"/>
                <a:cs typeface="Cambria"/>
              </a:rPr>
              <a:t>0</a:t>
            </a:r>
            <a:r>
              <a:rPr sz="1100" spc="40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45" dirty="0">
                <a:latin typeface="Cambria"/>
                <a:cs typeface="Cambria"/>
              </a:rPr>
              <a:t>𝛽</a:t>
            </a:r>
            <a:r>
              <a:rPr sz="1125" spc="67" baseline="-22222" dirty="0">
                <a:latin typeface="Cambria"/>
                <a:cs typeface="Cambria"/>
              </a:rPr>
              <a:t>1</a:t>
            </a:r>
            <a:r>
              <a:rPr sz="1100" spc="45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45" dirty="0">
                <a:latin typeface="Cambria"/>
                <a:cs typeface="Cambria"/>
              </a:rPr>
              <a:t>𝛽</a:t>
            </a:r>
            <a:r>
              <a:rPr sz="1125" spc="67" baseline="-22222" dirty="0">
                <a:latin typeface="Cambria"/>
                <a:cs typeface="Cambria"/>
              </a:rPr>
              <a:t>2</a:t>
            </a:r>
            <a:r>
              <a:rPr sz="1100" spc="45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114" dirty="0">
                <a:latin typeface="Cambria"/>
                <a:cs typeface="Cambria"/>
              </a:rPr>
              <a:t>…</a:t>
            </a:r>
            <a:r>
              <a:rPr sz="1100" spc="-55" dirty="0">
                <a:latin typeface="Cambria"/>
                <a:cs typeface="Cambria"/>
              </a:rPr>
              <a:t> </a:t>
            </a:r>
            <a:r>
              <a:rPr sz="1100" spc="85" dirty="0">
                <a:latin typeface="Cambria"/>
                <a:cs typeface="Cambria"/>
              </a:rPr>
              <a:t>,</a:t>
            </a:r>
            <a:r>
              <a:rPr sz="1100" spc="-55" dirty="0">
                <a:latin typeface="Cambria"/>
                <a:cs typeface="Cambria"/>
              </a:rPr>
              <a:t> </a:t>
            </a:r>
            <a:r>
              <a:rPr sz="1100" spc="10" dirty="0">
                <a:latin typeface="Cambria"/>
                <a:cs typeface="Cambria"/>
              </a:rPr>
              <a:t>𝛽</a:t>
            </a:r>
            <a:r>
              <a:rPr sz="1125" spc="15" baseline="-22222" dirty="0">
                <a:latin typeface="Cambria"/>
                <a:cs typeface="Cambria"/>
              </a:rPr>
              <a:t>𝑝</a:t>
            </a:r>
            <a:r>
              <a:rPr sz="1125" spc="359" baseline="-22222" dirty="0">
                <a:latin typeface="Cambria"/>
                <a:cs typeface="Cambria"/>
              </a:rPr>
              <a:t> </a:t>
            </a:r>
            <a:r>
              <a:rPr sz="1100" spc="-55" dirty="0">
                <a:latin typeface="Tahoma"/>
                <a:cs typeface="Tahoma"/>
              </a:rPr>
              <a:t>such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at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15" dirty="0">
                <a:latin typeface="Cambria"/>
                <a:cs typeface="Cambria"/>
              </a:rPr>
              <a:t>𝑌</a:t>
            </a:r>
            <a:r>
              <a:rPr sz="1100" spc="295" dirty="0">
                <a:latin typeface="Cambria"/>
                <a:cs typeface="Cambria"/>
              </a:rPr>
              <a:t> </a:t>
            </a:r>
            <a:r>
              <a:rPr sz="1100" spc="250" dirty="0">
                <a:latin typeface="Cambria"/>
                <a:cs typeface="Cambria"/>
              </a:rPr>
              <a:t>≈</a:t>
            </a:r>
            <a:r>
              <a:rPr sz="1100" spc="7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𝛽</a:t>
            </a:r>
            <a:r>
              <a:rPr sz="1125" baseline="-22222" dirty="0">
                <a:latin typeface="Cambria"/>
                <a:cs typeface="Cambria"/>
              </a:rPr>
              <a:t>0</a:t>
            </a:r>
            <a:r>
              <a:rPr sz="1125" spc="187" baseline="-22222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+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70" dirty="0">
                <a:latin typeface="Cambria"/>
                <a:cs typeface="Cambria"/>
              </a:rPr>
              <a:t>𝛽</a:t>
            </a:r>
            <a:r>
              <a:rPr sz="1125" spc="104" baseline="-22222" dirty="0">
                <a:latin typeface="Cambria"/>
                <a:cs typeface="Cambria"/>
              </a:rPr>
              <a:t>1</a:t>
            </a:r>
            <a:r>
              <a:rPr sz="1100" spc="70" dirty="0">
                <a:latin typeface="Cambria"/>
                <a:cs typeface="Cambria"/>
              </a:rPr>
              <a:t>𝑋</a:t>
            </a:r>
            <a:r>
              <a:rPr sz="1125" spc="104" baseline="-22222" dirty="0">
                <a:latin typeface="Cambria"/>
                <a:cs typeface="Cambria"/>
              </a:rPr>
              <a:t>1</a:t>
            </a:r>
            <a:r>
              <a:rPr sz="1125" spc="187" baseline="-22222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+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70" dirty="0">
                <a:latin typeface="Cambria"/>
                <a:cs typeface="Cambria"/>
              </a:rPr>
              <a:t>𝛽</a:t>
            </a:r>
            <a:r>
              <a:rPr sz="1125" spc="104" baseline="-22222" dirty="0">
                <a:latin typeface="Cambria"/>
                <a:cs typeface="Cambria"/>
              </a:rPr>
              <a:t>2</a:t>
            </a:r>
            <a:r>
              <a:rPr sz="1100" spc="70" dirty="0">
                <a:latin typeface="Cambria"/>
                <a:cs typeface="Cambria"/>
              </a:rPr>
              <a:t>𝑋</a:t>
            </a:r>
            <a:r>
              <a:rPr sz="1125" spc="104" baseline="-22222" dirty="0">
                <a:latin typeface="Cambria"/>
                <a:cs typeface="Cambria"/>
              </a:rPr>
              <a:t>2</a:t>
            </a:r>
            <a:r>
              <a:rPr sz="1125" spc="187" baseline="-22222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+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-70" dirty="0">
                <a:latin typeface="Cambria"/>
                <a:cs typeface="Cambria"/>
              </a:rPr>
              <a:t>⋯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+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65" dirty="0">
                <a:latin typeface="Cambria"/>
                <a:cs typeface="Cambria"/>
              </a:rPr>
              <a:t>𝛽</a:t>
            </a:r>
            <a:r>
              <a:rPr sz="1125" spc="97" baseline="-22222" dirty="0">
                <a:latin typeface="Cambria"/>
                <a:cs typeface="Cambria"/>
              </a:rPr>
              <a:t>𝑝</a:t>
            </a:r>
            <a:r>
              <a:rPr sz="1100" spc="65" dirty="0">
                <a:latin typeface="Cambria"/>
                <a:cs typeface="Cambria"/>
              </a:rPr>
              <a:t>𝑋</a:t>
            </a:r>
            <a:r>
              <a:rPr sz="1125" spc="97" baseline="-22222" dirty="0">
                <a:latin typeface="Cambria"/>
                <a:cs typeface="Cambria"/>
              </a:rPr>
              <a:t>𝑝</a:t>
            </a:r>
            <a:r>
              <a:rPr sz="1100" spc="65" dirty="0">
                <a:latin typeface="Tahoma"/>
                <a:cs typeface="Tahoma"/>
              </a:rPr>
              <a:t>.</a:t>
            </a:r>
            <a:r>
              <a:rPr sz="1100" spc="-40" dirty="0">
                <a:latin typeface="Tahoma"/>
                <a:cs typeface="Tahoma"/>
              </a:rPr>
              <a:t> On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pproach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i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to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75" dirty="0">
                <a:latin typeface="Tahoma"/>
                <a:cs typeface="Tahoma"/>
              </a:rPr>
              <a:t>us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least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square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which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attempt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15" dirty="0">
                <a:latin typeface="Tahoma"/>
                <a:cs typeface="Tahoma"/>
              </a:rPr>
              <a:t>to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minimiz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differenc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between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data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nd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our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estimat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for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55" dirty="0">
                <a:latin typeface="Cambria"/>
                <a:cs typeface="Cambria"/>
              </a:rPr>
              <a:t>𝑓</a:t>
            </a:r>
            <a:r>
              <a:rPr sz="1100" spc="-145" dirty="0">
                <a:latin typeface="Cambria"/>
                <a:cs typeface="Cambria"/>
              </a:rPr>
              <a:t> </a:t>
            </a:r>
            <a:r>
              <a:rPr sz="1100" spc="-40" dirty="0">
                <a:latin typeface="Tahoma"/>
                <a:cs typeface="Tahoma"/>
              </a:rPr>
              <a:t>.</a:t>
            </a:r>
            <a:endParaRPr sz="1100" dirty="0">
              <a:latin typeface="Tahoma"/>
              <a:cs typeface="Tahoma"/>
            </a:endParaRPr>
          </a:p>
        </p:txBody>
      </p:sp>
      <p:grpSp>
        <p:nvGrpSpPr>
          <p:cNvPr id="9" name="object 9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0" name="object 10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object 13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4" name="object 14"/>
          <p:cNvSpPr txBox="1"/>
          <p:nvPr/>
        </p:nvSpPr>
        <p:spPr>
          <a:xfrm>
            <a:off x="2194839" y="3106011"/>
            <a:ext cx="13703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6.1:</a:t>
            </a:r>
            <a:r>
              <a:rPr sz="600" spc="1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Introduction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to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Statistical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5" name="object 15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12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3</a:t>
            </a:r>
          </a:p>
        </p:txBody>
      </p:sp>
    </p:spTree>
  </p:cSld>
  <p:clrMapOvr>
    <a:masterClrMapping/>
  </p:clrMapOvr>
  <p:transition>
    <p:cut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9FF1E8D8-D584-0B2B-8FEF-81447C0E2C9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4085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FF1E8D8-D584-0B2B-8FEF-81447C0E2C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2559000" cy="232756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dirty="0"/>
              <a:t>Non-</a:t>
            </a:r>
            <a:r>
              <a:rPr spc="-40" dirty="0"/>
              <a:t>Parametric</a:t>
            </a:r>
            <a:r>
              <a:rPr spc="-30" dirty="0"/>
              <a:t> </a:t>
            </a:r>
            <a:r>
              <a:rPr spc="-10" dirty="0"/>
              <a:t>Methods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25844" y="745439"/>
            <a:ext cx="5508625" cy="1830705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dirty="0">
                <a:latin typeface="Tahoma"/>
                <a:cs typeface="Tahoma"/>
              </a:rPr>
              <a:t>This</a:t>
            </a:r>
            <a:r>
              <a:rPr sz="1100" spc="-6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method </a:t>
            </a:r>
            <a:r>
              <a:rPr sz="1100" spc="-55" dirty="0">
                <a:latin typeface="Tahoma"/>
                <a:cs typeface="Tahoma"/>
              </a:rPr>
              <a:t>doe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not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mak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an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assumption </a:t>
            </a:r>
            <a:r>
              <a:rPr sz="1100" spc="-20" dirty="0">
                <a:latin typeface="Tahoma"/>
                <a:cs typeface="Tahoma"/>
              </a:rPr>
              <a:t>about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form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60" dirty="0">
                <a:latin typeface="Cambria"/>
                <a:cs typeface="Cambria"/>
              </a:rPr>
              <a:t>𝑓</a:t>
            </a:r>
            <a:r>
              <a:rPr sz="1100" spc="-145" dirty="0">
                <a:latin typeface="Cambria"/>
                <a:cs typeface="Cambria"/>
              </a:rPr>
              <a:t> </a:t>
            </a:r>
            <a:r>
              <a:rPr sz="1100" dirty="0">
                <a:latin typeface="Tahoma"/>
                <a:cs typeface="Tahoma"/>
              </a:rPr>
              <a:t>.</a:t>
            </a:r>
            <a:r>
              <a:rPr sz="1100" spc="7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Instead,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goal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of</a:t>
            </a:r>
            <a:endParaRPr sz="1100">
              <a:latin typeface="Tahoma"/>
              <a:cs typeface="Tahoma"/>
            </a:endParaRPr>
          </a:p>
          <a:p>
            <a:pPr marL="12700" marR="81915">
              <a:lnSpc>
                <a:spcPct val="102600"/>
              </a:lnSpc>
              <a:spcBef>
                <a:spcPts val="5"/>
              </a:spcBef>
            </a:pPr>
            <a:r>
              <a:rPr sz="1100" spc="-60" dirty="0">
                <a:latin typeface="Tahoma"/>
                <a:cs typeface="Tahoma"/>
              </a:rPr>
              <a:t>non-</a:t>
            </a:r>
            <a:r>
              <a:rPr sz="1100" spc="-35" dirty="0">
                <a:latin typeface="Tahoma"/>
                <a:cs typeface="Tahoma"/>
              </a:rPr>
              <a:t>parametric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fitting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t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create 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an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estimate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for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solidFill>
                  <a:srgbClr val="FF0000"/>
                </a:solidFill>
                <a:latin typeface="Cambria"/>
                <a:cs typeface="Cambria"/>
              </a:rPr>
              <a:t>𝑓</a:t>
            </a:r>
            <a:r>
              <a:rPr sz="1100" spc="150" dirty="0">
                <a:solidFill>
                  <a:srgbClr val="FF0000"/>
                </a:solidFill>
                <a:latin typeface="Cambria"/>
                <a:cs typeface="Cambria"/>
              </a:rPr>
              <a:t>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that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follows 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the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data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as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close 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as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possible </a:t>
            </a:r>
            <a:r>
              <a:rPr sz="1100" spc="-25" dirty="0">
                <a:solidFill>
                  <a:srgbClr val="FF0000"/>
                </a:solidFill>
                <a:latin typeface="Tahoma"/>
                <a:cs typeface="Tahoma"/>
              </a:rPr>
              <a:t>while</a:t>
            </a:r>
            <a:r>
              <a:rPr sz="1100" spc="-6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staying</a:t>
            </a:r>
            <a:r>
              <a:rPr sz="1100" spc="-5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as</a:t>
            </a:r>
            <a:r>
              <a:rPr sz="1100" spc="-5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”smooth”</a:t>
            </a:r>
            <a:r>
              <a:rPr sz="1100" spc="-5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as</a:t>
            </a:r>
            <a:r>
              <a:rPr sz="1100" spc="-5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possible</a:t>
            </a:r>
            <a:r>
              <a:rPr sz="1100" spc="-10" dirty="0">
                <a:latin typeface="Tahoma"/>
                <a:cs typeface="Tahoma"/>
              </a:rPr>
              <a:t>.</a:t>
            </a:r>
            <a:endParaRPr sz="1100">
              <a:latin typeface="Tahoma"/>
              <a:cs typeface="Tahoma"/>
            </a:endParaRPr>
          </a:p>
          <a:p>
            <a:pPr marL="289560" marR="177800">
              <a:lnSpc>
                <a:spcPct val="102600"/>
              </a:lnSpc>
              <a:spcBef>
                <a:spcPts val="675"/>
              </a:spcBef>
            </a:pPr>
            <a:r>
              <a:rPr sz="1100" dirty="0">
                <a:latin typeface="Tahoma"/>
                <a:cs typeface="Tahoma"/>
              </a:rPr>
              <a:t>This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avoid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danger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75" dirty="0">
                <a:latin typeface="Tahoma"/>
                <a:cs typeface="Tahoma"/>
              </a:rPr>
              <a:t>seen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n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parametric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pproache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wher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functional </a:t>
            </a:r>
            <a:r>
              <a:rPr sz="1100" spc="-40" dirty="0">
                <a:latin typeface="Tahoma"/>
                <a:cs typeface="Tahoma"/>
              </a:rPr>
              <a:t>form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25" dirty="0">
                <a:latin typeface="Tahoma"/>
                <a:cs typeface="Tahoma"/>
              </a:rPr>
              <a:t> the </a:t>
            </a:r>
            <a:r>
              <a:rPr sz="1100" spc="-30" dirty="0">
                <a:latin typeface="Tahoma"/>
                <a:cs typeface="Tahoma"/>
              </a:rPr>
              <a:t>estimate</a:t>
            </a:r>
            <a:r>
              <a:rPr sz="1100" spc="-6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could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b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completely </a:t>
            </a:r>
            <a:r>
              <a:rPr sz="1100" spc="-35" dirty="0">
                <a:latin typeface="Tahoma"/>
                <a:cs typeface="Tahoma"/>
              </a:rPr>
              <a:t>different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from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tru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60" dirty="0">
                <a:latin typeface="Cambria"/>
                <a:cs typeface="Cambria"/>
              </a:rPr>
              <a:t>𝑓</a:t>
            </a:r>
            <a:r>
              <a:rPr sz="1100" spc="-145" dirty="0">
                <a:latin typeface="Cambria"/>
                <a:cs typeface="Cambria"/>
              </a:rPr>
              <a:t> </a:t>
            </a:r>
            <a:r>
              <a:rPr sz="1100" spc="-50" dirty="0">
                <a:latin typeface="Tahoma"/>
                <a:cs typeface="Tahoma"/>
              </a:rPr>
              <a:t>.</a:t>
            </a:r>
            <a:endParaRPr sz="1100">
              <a:latin typeface="Tahoma"/>
              <a:cs typeface="Tahoma"/>
            </a:endParaRPr>
          </a:p>
          <a:p>
            <a:pPr marL="289560" marR="5080">
              <a:lnSpc>
                <a:spcPct val="102699"/>
              </a:lnSpc>
            </a:pPr>
            <a:r>
              <a:rPr sz="1100" dirty="0">
                <a:latin typeface="Tahoma"/>
                <a:cs typeface="Tahoma"/>
              </a:rPr>
              <a:t>This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pproach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require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many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parameter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b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fit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sinc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25" dirty="0">
                <a:latin typeface="Tahoma"/>
                <a:cs typeface="Tahoma"/>
              </a:rPr>
              <a:t> from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Cambria"/>
                <a:cs typeface="Cambria"/>
              </a:rPr>
              <a:t>𝑓</a:t>
            </a:r>
            <a:r>
              <a:rPr sz="1100" spc="165" dirty="0">
                <a:latin typeface="Cambria"/>
                <a:cs typeface="Cambria"/>
              </a:rPr>
              <a:t> </a:t>
            </a:r>
            <a:r>
              <a:rPr sz="1100" spc="-75" dirty="0">
                <a:latin typeface="Tahoma"/>
                <a:cs typeface="Tahoma"/>
              </a:rPr>
              <a:t>needs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b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flexible. </a:t>
            </a:r>
            <a:r>
              <a:rPr sz="1100" dirty="0">
                <a:latin typeface="Tahoma"/>
                <a:cs typeface="Tahoma"/>
              </a:rPr>
              <a:t>As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25" dirty="0">
                <a:latin typeface="Tahoma"/>
                <a:cs typeface="Tahoma"/>
              </a:rPr>
              <a:t> result,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many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observation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r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needed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n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order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get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an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accurat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estimate </a:t>
            </a:r>
            <a:r>
              <a:rPr sz="1100" spc="-20" dirty="0">
                <a:latin typeface="Tahoma"/>
                <a:cs typeface="Tahoma"/>
              </a:rPr>
              <a:t>for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60" dirty="0">
                <a:latin typeface="Cambria"/>
                <a:cs typeface="Cambria"/>
              </a:rPr>
              <a:t>𝑓</a:t>
            </a:r>
            <a:r>
              <a:rPr sz="1100" spc="-145" dirty="0">
                <a:latin typeface="Cambria"/>
                <a:cs typeface="Cambria"/>
              </a:rPr>
              <a:t> </a:t>
            </a:r>
            <a:r>
              <a:rPr sz="1100" spc="-50" dirty="0">
                <a:latin typeface="Tahoma"/>
                <a:cs typeface="Tahoma"/>
              </a:rPr>
              <a:t>.</a:t>
            </a:r>
            <a:endParaRPr sz="1100">
              <a:latin typeface="Tahoma"/>
              <a:cs typeface="Tahoma"/>
            </a:endParaRPr>
          </a:p>
          <a:p>
            <a:pPr marL="289560" marR="458470">
              <a:lnSpc>
                <a:spcPct val="102600"/>
              </a:lnSpc>
            </a:pPr>
            <a:r>
              <a:rPr sz="1100" dirty="0">
                <a:latin typeface="Tahoma"/>
                <a:cs typeface="Tahoma"/>
              </a:rPr>
              <a:t>This</a:t>
            </a:r>
            <a:r>
              <a:rPr sz="1100" spc="-6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approach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could </a:t>
            </a:r>
            <a:r>
              <a:rPr sz="1100" spc="-35" dirty="0">
                <a:latin typeface="Tahoma"/>
                <a:cs typeface="Tahoma"/>
              </a:rPr>
              <a:t>lead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5" dirty="0">
                <a:latin typeface="Arial Black"/>
                <a:cs typeface="Arial Black"/>
              </a:rPr>
              <a:t>overfitting</a:t>
            </a:r>
            <a:r>
              <a:rPr sz="1100" spc="-105" dirty="0">
                <a:latin typeface="Tahoma"/>
                <a:cs typeface="Tahoma"/>
              </a:rPr>
              <a:t>,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n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which </a:t>
            </a:r>
            <a:r>
              <a:rPr sz="1100" dirty="0">
                <a:latin typeface="Cambria"/>
                <a:cs typeface="Cambria"/>
              </a:rPr>
              <a:t>𝑓</a:t>
            </a:r>
            <a:r>
              <a:rPr sz="1100" spc="170" dirty="0">
                <a:latin typeface="Cambria"/>
                <a:cs typeface="Cambria"/>
              </a:rPr>
              <a:t> </a:t>
            </a:r>
            <a:r>
              <a:rPr sz="1100" spc="-35" dirty="0">
                <a:latin typeface="Tahoma"/>
                <a:cs typeface="Tahoma"/>
              </a:rPr>
              <a:t>follow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nois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and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random </a:t>
            </a:r>
            <a:r>
              <a:rPr sz="1100" spc="-30" dirty="0">
                <a:latin typeface="Tahoma"/>
                <a:cs typeface="Tahoma"/>
              </a:rPr>
              <a:t>variation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n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our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data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o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closely.</a:t>
            </a:r>
            <a:endParaRPr sz="1100">
              <a:latin typeface="Tahoma"/>
              <a:cs typeface="Tahoma"/>
            </a:endParaRPr>
          </a:p>
          <a:p>
            <a:pPr marL="289560">
              <a:lnSpc>
                <a:spcPct val="100000"/>
              </a:lnSpc>
              <a:spcBef>
                <a:spcPts val="35"/>
              </a:spcBef>
            </a:pPr>
            <a:r>
              <a:rPr sz="1100" spc="-30" dirty="0">
                <a:latin typeface="Tahoma"/>
                <a:cs typeface="Tahoma"/>
              </a:rPr>
              <a:t>Splines </a:t>
            </a:r>
            <a:r>
              <a:rPr sz="1100" spc="-55" dirty="0">
                <a:latin typeface="Tahoma"/>
                <a:cs typeface="Tahoma"/>
              </a:rPr>
              <a:t>ar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an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exampl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non-</a:t>
            </a:r>
            <a:r>
              <a:rPr sz="1100" spc="-35" dirty="0">
                <a:latin typeface="Tahoma"/>
                <a:cs typeface="Tahoma"/>
              </a:rPr>
              <a:t>parametric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fitting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5" name="object 5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209032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9" name="object 9"/>
          <p:cNvSpPr txBox="1"/>
          <p:nvPr/>
        </p:nvSpPr>
        <p:spPr>
          <a:xfrm>
            <a:off x="2194839" y="3106011"/>
            <a:ext cx="13703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6.1:</a:t>
            </a:r>
            <a:r>
              <a:rPr sz="600" spc="1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Introduction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to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Statistical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0" name="object 10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7465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13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3</a:t>
            </a:r>
          </a:p>
        </p:txBody>
      </p:sp>
    </p:spTree>
  </p:cSld>
  <p:clrMapOvr>
    <a:masterClrMapping/>
  </p:clrMapOvr>
  <p:transition>
    <p:cut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50" dirty="0"/>
              <a:t>Accuracy-</a:t>
            </a:r>
            <a:r>
              <a:rPr spc="-40" dirty="0"/>
              <a:t>Interpretability</a:t>
            </a:r>
            <a:r>
              <a:rPr spc="170" dirty="0"/>
              <a:t> </a:t>
            </a:r>
            <a:r>
              <a:rPr spc="-45" dirty="0"/>
              <a:t>Trade-</a:t>
            </a:r>
            <a:r>
              <a:rPr spc="-25" dirty="0"/>
              <a:t>Off</a:t>
            </a:r>
          </a:p>
        </p:txBody>
      </p:sp>
      <p:sp>
        <p:nvSpPr>
          <p:cNvPr id="3" name="object 3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vert="horz" wrap="square" lIns="0" tIns="276644" rIns="0" bIns="0" rtlCol="0">
            <a:spAutoFit/>
          </a:bodyPr>
          <a:lstStyle/>
          <a:p>
            <a:pPr marL="327660" marR="224154">
              <a:lnSpc>
                <a:spcPct val="102699"/>
              </a:lnSpc>
              <a:spcBef>
                <a:spcPts val="55"/>
              </a:spcBef>
            </a:pPr>
            <a:r>
              <a:rPr dirty="0"/>
              <a:t>The</a:t>
            </a:r>
            <a:r>
              <a:rPr spc="-70" dirty="0"/>
              <a:t> </a:t>
            </a:r>
            <a:r>
              <a:rPr spc="-40" dirty="0"/>
              <a:t>methods</a:t>
            </a:r>
            <a:r>
              <a:rPr spc="-25" dirty="0"/>
              <a:t> </a:t>
            </a:r>
            <a:r>
              <a:rPr spc="-95" dirty="0"/>
              <a:t>we</a:t>
            </a:r>
            <a:r>
              <a:rPr spc="5" dirty="0"/>
              <a:t> </a:t>
            </a:r>
            <a:r>
              <a:rPr dirty="0"/>
              <a:t>will</a:t>
            </a:r>
            <a:r>
              <a:rPr spc="-30" dirty="0"/>
              <a:t> introduce</a:t>
            </a:r>
            <a:r>
              <a:rPr spc="-25" dirty="0"/>
              <a:t> </a:t>
            </a:r>
            <a:r>
              <a:rPr spc="-55" dirty="0"/>
              <a:t>have</a:t>
            </a:r>
            <a:r>
              <a:rPr spc="-30" dirty="0"/>
              <a:t> </a:t>
            </a:r>
            <a:r>
              <a:rPr spc="-35" dirty="0"/>
              <a:t>different</a:t>
            </a:r>
            <a:r>
              <a:rPr spc="-30" dirty="0"/>
              <a:t> </a:t>
            </a:r>
            <a:r>
              <a:rPr spc="-40" dirty="0"/>
              <a:t>levels</a:t>
            </a:r>
            <a:r>
              <a:rPr spc="-30" dirty="0"/>
              <a:t> </a:t>
            </a:r>
            <a:r>
              <a:rPr dirty="0"/>
              <a:t>of</a:t>
            </a:r>
            <a:r>
              <a:rPr spc="-25" dirty="0"/>
              <a:t> </a:t>
            </a:r>
            <a:r>
              <a:rPr spc="-40" dirty="0"/>
              <a:t>restrictiveness</a:t>
            </a:r>
            <a:r>
              <a:rPr spc="-30" dirty="0"/>
              <a:t> </a:t>
            </a:r>
            <a:r>
              <a:rPr spc="-20" dirty="0"/>
              <a:t>or</a:t>
            </a:r>
            <a:r>
              <a:rPr spc="-30" dirty="0"/>
              <a:t> </a:t>
            </a:r>
            <a:r>
              <a:rPr spc="-25" dirty="0"/>
              <a:t>flexibility. </a:t>
            </a:r>
            <a:r>
              <a:rPr spc="-30" dirty="0"/>
              <a:t>Choosing</a:t>
            </a:r>
            <a:r>
              <a:rPr spc="-55" dirty="0"/>
              <a:t> </a:t>
            </a:r>
            <a:r>
              <a:rPr dirty="0"/>
              <a:t>a</a:t>
            </a:r>
            <a:r>
              <a:rPr spc="-35" dirty="0"/>
              <a:t> </a:t>
            </a:r>
            <a:r>
              <a:rPr spc="-30" dirty="0"/>
              <a:t>model</a:t>
            </a:r>
            <a:r>
              <a:rPr spc="-40" dirty="0"/>
              <a:t> </a:t>
            </a:r>
            <a:r>
              <a:rPr spc="-10" dirty="0"/>
              <a:t>on</a:t>
            </a:r>
            <a:r>
              <a:rPr spc="-40" dirty="0"/>
              <a:t> </a:t>
            </a:r>
            <a:r>
              <a:rPr spc="-10" dirty="0"/>
              <a:t>the</a:t>
            </a:r>
            <a:r>
              <a:rPr spc="-40" dirty="0"/>
              <a:t> </a:t>
            </a:r>
            <a:r>
              <a:rPr spc="-35" dirty="0"/>
              <a:t>basis</a:t>
            </a:r>
            <a:r>
              <a:rPr spc="-40" dirty="0"/>
              <a:t> </a:t>
            </a:r>
            <a:r>
              <a:rPr dirty="0"/>
              <a:t>of</a:t>
            </a:r>
            <a:r>
              <a:rPr spc="-40" dirty="0"/>
              <a:t> </a:t>
            </a:r>
            <a:r>
              <a:rPr spc="-20" dirty="0"/>
              <a:t>flexibility</a:t>
            </a:r>
            <a:r>
              <a:rPr spc="-35" dirty="0"/>
              <a:t> </a:t>
            </a:r>
            <a:r>
              <a:rPr dirty="0"/>
              <a:t>will</a:t>
            </a:r>
            <a:r>
              <a:rPr spc="-40" dirty="0"/>
              <a:t> </a:t>
            </a:r>
            <a:r>
              <a:rPr spc="-60" dirty="0"/>
              <a:t>depend</a:t>
            </a:r>
            <a:r>
              <a:rPr spc="-30" dirty="0"/>
              <a:t> </a:t>
            </a:r>
            <a:r>
              <a:rPr spc="-10" dirty="0"/>
              <a:t>on</a:t>
            </a:r>
            <a:r>
              <a:rPr spc="-40" dirty="0"/>
              <a:t> </a:t>
            </a:r>
            <a:r>
              <a:rPr spc="-10" dirty="0"/>
              <a:t>the</a:t>
            </a:r>
            <a:r>
              <a:rPr spc="-35" dirty="0"/>
              <a:t> </a:t>
            </a:r>
            <a:r>
              <a:rPr spc="-45" dirty="0"/>
              <a:t>problem</a:t>
            </a:r>
            <a:r>
              <a:rPr spc="-40" dirty="0"/>
              <a:t> </a:t>
            </a:r>
            <a:r>
              <a:rPr dirty="0"/>
              <a:t>at</a:t>
            </a:r>
            <a:r>
              <a:rPr spc="-40" dirty="0"/>
              <a:t> </a:t>
            </a:r>
            <a:r>
              <a:rPr spc="-10" dirty="0"/>
              <a:t>hand.</a:t>
            </a:r>
          </a:p>
          <a:p>
            <a:pPr marL="604520" marR="27940">
              <a:lnSpc>
                <a:spcPts val="1200"/>
              </a:lnSpc>
              <a:spcBef>
                <a:spcPts val="15"/>
              </a:spcBef>
            </a:pPr>
            <a:r>
              <a:rPr sz="1000" spc="-20" dirty="0">
                <a:solidFill>
                  <a:srgbClr val="FF0000"/>
                </a:solidFill>
              </a:rPr>
              <a:t>If</a:t>
            </a:r>
            <a:r>
              <a:rPr sz="1000" spc="-40" dirty="0">
                <a:solidFill>
                  <a:srgbClr val="FF0000"/>
                </a:solidFill>
              </a:rPr>
              <a:t> </a:t>
            </a:r>
            <a:r>
              <a:rPr sz="1000" spc="-85" dirty="0">
                <a:solidFill>
                  <a:srgbClr val="FF0000"/>
                </a:solidFill>
              </a:rPr>
              <a:t>we</a:t>
            </a:r>
            <a:r>
              <a:rPr sz="1000" spc="10" dirty="0">
                <a:solidFill>
                  <a:srgbClr val="FF0000"/>
                </a:solidFill>
              </a:rPr>
              <a:t> </a:t>
            </a:r>
            <a:r>
              <a:rPr sz="1000" spc="-50" dirty="0">
                <a:solidFill>
                  <a:srgbClr val="FF0000"/>
                </a:solidFill>
              </a:rPr>
              <a:t>are</a:t>
            </a:r>
            <a:r>
              <a:rPr sz="1000" spc="-15" dirty="0">
                <a:solidFill>
                  <a:srgbClr val="FF0000"/>
                </a:solidFill>
              </a:rPr>
              <a:t> </a:t>
            </a:r>
            <a:r>
              <a:rPr sz="1000" spc="-40" dirty="0">
                <a:solidFill>
                  <a:srgbClr val="FF0000"/>
                </a:solidFill>
              </a:rPr>
              <a:t>interested</a:t>
            </a:r>
            <a:r>
              <a:rPr sz="1000" spc="-15" dirty="0">
                <a:solidFill>
                  <a:srgbClr val="FF0000"/>
                </a:solidFill>
              </a:rPr>
              <a:t> </a:t>
            </a:r>
            <a:r>
              <a:rPr sz="1000" dirty="0">
                <a:solidFill>
                  <a:srgbClr val="FF0000"/>
                </a:solidFill>
              </a:rPr>
              <a:t>in</a:t>
            </a:r>
            <a:r>
              <a:rPr sz="1000" spc="-15" dirty="0">
                <a:solidFill>
                  <a:srgbClr val="FF0000"/>
                </a:solidFill>
              </a:rPr>
              <a:t> </a:t>
            </a:r>
            <a:r>
              <a:rPr sz="1000" spc="-40" dirty="0">
                <a:solidFill>
                  <a:srgbClr val="FF0000"/>
                </a:solidFill>
              </a:rPr>
              <a:t>inference,</a:t>
            </a:r>
            <a:r>
              <a:rPr sz="1000" spc="-15" dirty="0">
                <a:solidFill>
                  <a:srgbClr val="FF0000"/>
                </a:solidFill>
              </a:rPr>
              <a:t> </a:t>
            </a:r>
            <a:r>
              <a:rPr sz="1000" spc="-25" dirty="0">
                <a:solidFill>
                  <a:srgbClr val="FF0000"/>
                </a:solidFill>
              </a:rPr>
              <a:t>restrictive</a:t>
            </a:r>
            <a:r>
              <a:rPr sz="1000" spc="-15" dirty="0">
                <a:solidFill>
                  <a:srgbClr val="FF0000"/>
                </a:solidFill>
              </a:rPr>
              <a:t> </a:t>
            </a:r>
            <a:r>
              <a:rPr sz="1000" spc="-35" dirty="0">
                <a:solidFill>
                  <a:srgbClr val="FF0000"/>
                </a:solidFill>
              </a:rPr>
              <a:t>models</a:t>
            </a:r>
            <a:r>
              <a:rPr sz="1000" spc="-15" dirty="0">
                <a:solidFill>
                  <a:srgbClr val="FF0000"/>
                </a:solidFill>
              </a:rPr>
              <a:t> </a:t>
            </a:r>
            <a:r>
              <a:rPr sz="1000" spc="-50" dirty="0">
                <a:solidFill>
                  <a:srgbClr val="FF0000"/>
                </a:solidFill>
              </a:rPr>
              <a:t>are</a:t>
            </a:r>
            <a:r>
              <a:rPr sz="1000" spc="-10" dirty="0">
                <a:solidFill>
                  <a:srgbClr val="FF0000"/>
                </a:solidFill>
              </a:rPr>
              <a:t> </a:t>
            </a:r>
            <a:r>
              <a:rPr sz="1000" spc="-35" dirty="0">
                <a:solidFill>
                  <a:srgbClr val="FF0000"/>
                </a:solidFill>
              </a:rPr>
              <a:t>much</a:t>
            </a:r>
            <a:r>
              <a:rPr sz="1000" spc="-15" dirty="0">
                <a:solidFill>
                  <a:srgbClr val="FF0000"/>
                </a:solidFill>
              </a:rPr>
              <a:t> </a:t>
            </a:r>
            <a:r>
              <a:rPr sz="1000" spc="-50" dirty="0">
                <a:solidFill>
                  <a:srgbClr val="FF0000"/>
                </a:solidFill>
              </a:rPr>
              <a:t>more</a:t>
            </a:r>
            <a:r>
              <a:rPr sz="1000" spc="-15" dirty="0">
                <a:solidFill>
                  <a:srgbClr val="FF0000"/>
                </a:solidFill>
              </a:rPr>
              <a:t> </a:t>
            </a:r>
            <a:r>
              <a:rPr sz="1000" spc="-35" dirty="0">
                <a:solidFill>
                  <a:srgbClr val="FF0000"/>
                </a:solidFill>
              </a:rPr>
              <a:t>interpretable</a:t>
            </a:r>
            <a:r>
              <a:rPr sz="1000" spc="-15" dirty="0">
                <a:solidFill>
                  <a:srgbClr val="FF0000"/>
                </a:solidFill>
              </a:rPr>
              <a:t> </a:t>
            </a:r>
            <a:r>
              <a:rPr sz="1000" spc="-10" dirty="0"/>
              <a:t>(i.e.</a:t>
            </a:r>
            <a:r>
              <a:rPr sz="1000" spc="-15" dirty="0"/>
              <a:t> </a:t>
            </a:r>
            <a:r>
              <a:rPr sz="1000" spc="-25" dirty="0"/>
              <a:t>the </a:t>
            </a:r>
            <a:r>
              <a:rPr sz="1000" spc="-30" dirty="0"/>
              <a:t>relationship</a:t>
            </a:r>
            <a:r>
              <a:rPr sz="1000" spc="-15" dirty="0"/>
              <a:t> </a:t>
            </a:r>
            <a:r>
              <a:rPr sz="1000" spc="-65" dirty="0"/>
              <a:t>between</a:t>
            </a:r>
            <a:r>
              <a:rPr sz="1000" spc="-10" dirty="0"/>
              <a:t> </a:t>
            </a:r>
            <a:r>
              <a:rPr sz="1000" spc="-20" dirty="0"/>
              <a:t>the</a:t>
            </a:r>
            <a:r>
              <a:rPr sz="1000" spc="-10" dirty="0"/>
              <a:t> </a:t>
            </a:r>
            <a:r>
              <a:rPr sz="1000" spc="-35" dirty="0"/>
              <a:t>predictors</a:t>
            </a:r>
            <a:r>
              <a:rPr sz="1000" spc="-15" dirty="0"/>
              <a:t> </a:t>
            </a:r>
            <a:r>
              <a:rPr sz="1000" spc="-20" dirty="0"/>
              <a:t>and</a:t>
            </a:r>
            <a:r>
              <a:rPr sz="1000" spc="-10" dirty="0"/>
              <a:t> </a:t>
            </a:r>
            <a:r>
              <a:rPr sz="1000" spc="-20" dirty="0"/>
              <a:t>the</a:t>
            </a:r>
            <a:r>
              <a:rPr sz="1000" spc="-10" dirty="0"/>
              <a:t> </a:t>
            </a:r>
            <a:r>
              <a:rPr sz="1000" spc="-60" dirty="0"/>
              <a:t>response</a:t>
            </a:r>
            <a:r>
              <a:rPr sz="1000" spc="-10" dirty="0"/>
              <a:t> </a:t>
            </a:r>
            <a:r>
              <a:rPr sz="1000" dirty="0"/>
              <a:t>is</a:t>
            </a:r>
            <a:r>
              <a:rPr sz="1000" spc="-15" dirty="0"/>
              <a:t> </a:t>
            </a:r>
            <a:r>
              <a:rPr sz="1000" spc="-50" dirty="0"/>
              <a:t>more</a:t>
            </a:r>
            <a:r>
              <a:rPr sz="1000" spc="-10" dirty="0"/>
              <a:t> clear)</a:t>
            </a:r>
            <a:endParaRPr sz="1000"/>
          </a:p>
          <a:p>
            <a:pPr marL="604520">
              <a:lnSpc>
                <a:spcPts val="1150"/>
              </a:lnSpc>
            </a:pPr>
            <a:r>
              <a:rPr sz="1000" spc="-20" dirty="0">
                <a:solidFill>
                  <a:srgbClr val="FF0000"/>
                </a:solidFill>
              </a:rPr>
              <a:t>If</a:t>
            </a:r>
            <a:r>
              <a:rPr sz="1000" spc="-50" dirty="0">
                <a:solidFill>
                  <a:srgbClr val="FF0000"/>
                </a:solidFill>
              </a:rPr>
              <a:t> </a:t>
            </a:r>
            <a:r>
              <a:rPr sz="1000" spc="-85" dirty="0">
                <a:solidFill>
                  <a:srgbClr val="FF0000"/>
                </a:solidFill>
              </a:rPr>
              <a:t>we</a:t>
            </a:r>
            <a:r>
              <a:rPr sz="1000" spc="5" dirty="0">
                <a:solidFill>
                  <a:srgbClr val="FF0000"/>
                </a:solidFill>
              </a:rPr>
              <a:t> </a:t>
            </a:r>
            <a:r>
              <a:rPr sz="1000" spc="-50" dirty="0">
                <a:solidFill>
                  <a:srgbClr val="FF0000"/>
                </a:solidFill>
              </a:rPr>
              <a:t>are</a:t>
            </a:r>
            <a:r>
              <a:rPr sz="1000" spc="-10" dirty="0">
                <a:solidFill>
                  <a:srgbClr val="FF0000"/>
                </a:solidFill>
              </a:rPr>
              <a:t> </a:t>
            </a:r>
            <a:r>
              <a:rPr sz="1000" spc="-20" dirty="0">
                <a:solidFill>
                  <a:srgbClr val="FF0000"/>
                </a:solidFill>
              </a:rPr>
              <a:t>only</a:t>
            </a:r>
            <a:r>
              <a:rPr sz="1000" spc="-10" dirty="0">
                <a:solidFill>
                  <a:srgbClr val="FF0000"/>
                </a:solidFill>
              </a:rPr>
              <a:t> </a:t>
            </a:r>
            <a:r>
              <a:rPr sz="1000" spc="-40" dirty="0">
                <a:solidFill>
                  <a:srgbClr val="FF0000"/>
                </a:solidFill>
              </a:rPr>
              <a:t>interested</a:t>
            </a:r>
            <a:r>
              <a:rPr sz="1000" spc="-5" dirty="0">
                <a:solidFill>
                  <a:srgbClr val="FF0000"/>
                </a:solidFill>
              </a:rPr>
              <a:t> </a:t>
            </a:r>
            <a:r>
              <a:rPr sz="1000" dirty="0">
                <a:solidFill>
                  <a:srgbClr val="FF0000"/>
                </a:solidFill>
              </a:rPr>
              <a:t>in</a:t>
            </a:r>
            <a:r>
              <a:rPr sz="1000" spc="-10" dirty="0">
                <a:solidFill>
                  <a:srgbClr val="FF0000"/>
                </a:solidFill>
              </a:rPr>
              <a:t> </a:t>
            </a:r>
            <a:r>
              <a:rPr sz="1000" spc="-30" dirty="0">
                <a:solidFill>
                  <a:srgbClr val="FF0000"/>
                </a:solidFill>
              </a:rPr>
              <a:t>prediction</a:t>
            </a:r>
            <a:r>
              <a:rPr sz="1000" spc="-10" dirty="0">
                <a:solidFill>
                  <a:srgbClr val="FF0000"/>
                </a:solidFill>
              </a:rPr>
              <a:t> </a:t>
            </a:r>
            <a:r>
              <a:rPr sz="1000" spc="-40" dirty="0">
                <a:solidFill>
                  <a:srgbClr val="FF0000"/>
                </a:solidFill>
              </a:rPr>
              <a:t>accuracy,</a:t>
            </a:r>
            <a:r>
              <a:rPr sz="1000" spc="-10" dirty="0">
                <a:solidFill>
                  <a:srgbClr val="FF0000"/>
                </a:solidFill>
              </a:rPr>
              <a:t> </a:t>
            </a:r>
            <a:r>
              <a:rPr sz="1000" spc="-25" dirty="0">
                <a:solidFill>
                  <a:srgbClr val="FF0000"/>
                </a:solidFill>
              </a:rPr>
              <a:t>flexible</a:t>
            </a:r>
            <a:r>
              <a:rPr sz="1000" spc="-10" dirty="0">
                <a:solidFill>
                  <a:srgbClr val="FF0000"/>
                </a:solidFill>
              </a:rPr>
              <a:t> </a:t>
            </a:r>
            <a:r>
              <a:rPr sz="1000" spc="-35" dirty="0">
                <a:solidFill>
                  <a:srgbClr val="FF0000"/>
                </a:solidFill>
              </a:rPr>
              <a:t>models</a:t>
            </a:r>
            <a:r>
              <a:rPr sz="1000" spc="-5" dirty="0">
                <a:solidFill>
                  <a:srgbClr val="FF0000"/>
                </a:solidFill>
              </a:rPr>
              <a:t> </a:t>
            </a:r>
            <a:r>
              <a:rPr sz="1000" spc="-105" dirty="0">
                <a:solidFill>
                  <a:srgbClr val="FF0000"/>
                </a:solidFill>
                <a:latin typeface="Arial Black"/>
                <a:cs typeface="Arial Black"/>
              </a:rPr>
              <a:t>might</a:t>
            </a:r>
            <a:r>
              <a:rPr sz="1000" spc="-5" dirty="0">
                <a:solidFill>
                  <a:srgbClr val="FF0000"/>
                </a:solidFill>
                <a:latin typeface="Arial Black"/>
                <a:cs typeface="Arial Black"/>
              </a:rPr>
              <a:t> </a:t>
            </a:r>
            <a:r>
              <a:rPr sz="1000" spc="-35" dirty="0">
                <a:solidFill>
                  <a:srgbClr val="FF0000"/>
                </a:solidFill>
              </a:rPr>
              <a:t>perform</a:t>
            </a:r>
            <a:r>
              <a:rPr sz="1000" spc="-10" dirty="0">
                <a:solidFill>
                  <a:srgbClr val="FF0000"/>
                </a:solidFill>
              </a:rPr>
              <a:t> better.</a:t>
            </a:r>
            <a:endParaRPr sz="1000">
              <a:latin typeface="Arial Black"/>
              <a:cs typeface="Arial Black"/>
            </a:endParaRPr>
          </a:p>
          <a:p>
            <a:pPr marL="327660" marR="5080">
              <a:lnSpc>
                <a:spcPct val="102699"/>
              </a:lnSpc>
              <a:spcBef>
                <a:spcPts val="20"/>
              </a:spcBef>
            </a:pPr>
            <a:r>
              <a:rPr spc="-20" dirty="0"/>
              <a:t>Flexible</a:t>
            </a:r>
            <a:r>
              <a:rPr spc="-25" dirty="0"/>
              <a:t> </a:t>
            </a:r>
            <a:r>
              <a:rPr spc="-50" dirty="0"/>
              <a:t>models</a:t>
            </a:r>
            <a:r>
              <a:rPr spc="-20" dirty="0"/>
              <a:t> </a:t>
            </a:r>
            <a:r>
              <a:rPr dirty="0"/>
              <a:t>will</a:t>
            </a:r>
            <a:r>
              <a:rPr spc="-20" dirty="0"/>
              <a:t> </a:t>
            </a:r>
            <a:r>
              <a:rPr dirty="0"/>
              <a:t>not</a:t>
            </a:r>
            <a:r>
              <a:rPr spc="-25" dirty="0"/>
              <a:t> </a:t>
            </a:r>
            <a:r>
              <a:rPr spc="-60" dirty="0"/>
              <a:t>always</a:t>
            </a:r>
            <a:r>
              <a:rPr spc="-20" dirty="0"/>
              <a:t> </a:t>
            </a:r>
            <a:r>
              <a:rPr spc="-45" dirty="0"/>
              <a:t>provide</a:t>
            </a:r>
            <a:r>
              <a:rPr spc="-20" dirty="0"/>
              <a:t> better </a:t>
            </a:r>
            <a:r>
              <a:rPr spc="-35" dirty="0"/>
              <a:t>predictions</a:t>
            </a:r>
            <a:r>
              <a:rPr spc="-25" dirty="0"/>
              <a:t> </a:t>
            </a:r>
            <a:r>
              <a:rPr spc="-45" dirty="0"/>
              <a:t>since</a:t>
            </a:r>
            <a:r>
              <a:rPr spc="-20" dirty="0"/>
              <a:t> </a:t>
            </a:r>
            <a:r>
              <a:rPr spc="-25" dirty="0"/>
              <a:t>they</a:t>
            </a:r>
            <a:r>
              <a:rPr spc="-20" dirty="0"/>
              <a:t> </a:t>
            </a:r>
            <a:r>
              <a:rPr spc="-55" dirty="0"/>
              <a:t>are</a:t>
            </a:r>
            <a:r>
              <a:rPr spc="-25" dirty="0"/>
              <a:t> </a:t>
            </a:r>
            <a:r>
              <a:rPr spc="-50" dirty="0"/>
              <a:t>very</a:t>
            </a:r>
            <a:r>
              <a:rPr spc="-20" dirty="0"/>
              <a:t> </a:t>
            </a:r>
            <a:r>
              <a:rPr spc="-60" dirty="0"/>
              <a:t>prone</a:t>
            </a:r>
            <a:r>
              <a:rPr spc="-20" dirty="0"/>
              <a:t> </a:t>
            </a:r>
            <a:r>
              <a:rPr spc="-25" dirty="0"/>
              <a:t>to </a:t>
            </a:r>
            <a:r>
              <a:rPr spc="-10" dirty="0"/>
              <a:t>overfitting!</a:t>
            </a:r>
          </a:p>
        </p:txBody>
      </p:sp>
      <p:grpSp>
        <p:nvGrpSpPr>
          <p:cNvPr id="4" name="object 4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5" name="object 5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209032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9" name="object 9"/>
          <p:cNvSpPr txBox="1"/>
          <p:nvPr/>
        </p:nvSpPr>
        <p:spPr>
          <a:xfrm>
            <a:off x="2194839" y="3106011"/>
            <a:ext cx="13703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6.1:</a:t>
            </a:r>
            <a:r>
              <a:rPr sz="600" spc="1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Introduction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to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Statistical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0" name="object 10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7465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14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3</a:t>
            </a:r>
          </a:p>
        </p:txBody>
      </p:sp>
    </p:spTree>
  </p:cSld>
  <p:clrMapOvr>
    <a:masterClrMapping/>
  </p:clrMapOvr>
  <p:transition>
    <p:cut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50" dirty="0"/>
              <a:t>Supervised</a:t>
            </a:r>
            <a:r>
              <a:rPr spc="-45" dirty="0"/>
              <a:t> </a:t>
            </a:r>
            <a:r>
              <a:rPr spc="-10" dirty="0"/>
              <a:t>vs</a:t>
            </a:r>
            <a:r>
              <a:rPr spc="-40" dirty="0"/>
              <a:t> </a:t>
            </a:r>
            <a:r>
              <a:rPr spc="-55" dirty="0"/>
              <a:t>Unsupervised</a:t>
            </a:r>
            <a:r>
              <a:rPr spc="-40" dirty="0"/>
              <a:t> </a:t>
            </a:r>
            <a:r>
              <a:rPr spc="-30" dirty="0"/>
              <a:t>Learning</a:t>
            </a:r>
          </a:p>
        </p:txBody>
      </p:sp>
      <p:sp>
        <p:nvSpPr>
          <p:cNvPr id="3" name="object 3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327660" marR="374015">
              <a:lnSpc>
                <a:spcPct val="102699"/>
              </a:lnSpc>
              <a:spcBef>
                <a:spcPts val="55"/>
              </a:spcBef>
            </a:pPr>
            <a:r>
              <a:rPr spc="-145" dirty="0">
                <a:latin typeface="Arial Black"/>
                <a:cs typeface="Arial Black"/>
              </a:rPr>
              <a:t>Supervised</a:t>
            </a:r>
            <a:r>
              <a:rPr spc="30" dirty="0">
                <a:latin typeface="Arial Black"/>
                <a:cs typeface="Arial Black"/>
              </a:rPr>
              <a:t> </a:t>
            </a:r>
            <a:r>
              <a:rPr spc="-140" dirty="0">
                <a:latin typeface="Arial Black"/>
                <a:cs typeface="Arial Black"/>
              </a:rPr>
              <a:t>learning</a:t>
            </a:r>
            <a:r>
              <a:rPr spc="-5" dirty="0">
                <a:latin typeface="Arial Black"/>
                <a:cs typeface="Arial Black"/>
              </a:rPr>
              <a:t> </a:t>
            </a:r>
            <a:r>
              <a:rPr spc="-40" dirty="0"/>
              <a:t>involves</a:t>
            </a:r>
            <a:r>
              <a:rPr spc="-25" dirty="0"/>
              <a:t> </a:t>
            </a:r>
            <a:r>
              <a:rPr spc="-50" dirty="0"/>
              <a:t>models</a:t>
            </a:r>
            <a:r>
              <a:rPr spc="5" dirty="0"/>
              <a:t> </a:t>
            </a:r>
            <a:r>
              <a:rPr spc="-20" dirty="0"/>
              <a:t>for</a:t>
            </a:r>
            <a:r>
              <a:rPr spc="5" dirty="0"/>
              <a:t> </a:t>
            </a:r>
            <a:r>
              <a:rPr spc="-35" dirty="0"/>
              <a:t>predicting</a:t>
            </a:r>
            <a:r>
              <a:rPr spc="5" dirty="0"/>
              <a:t> </a:t>
            </a:r>
            <a:r>
              <a:rPr dirty="0"/>
              <a:t>a </a:t>
            </a:r>
            <a:r>
              <a:rPr spc="-65" dirty="0"/>
              <a:t>response</a:t>
            </a:r>
            <a:r>
              <a:rPr spc="5" dirty="0"/>
              <a:t> </a:t>
            </a:r>
            <a:r>
              <a:rPr spc="-60" dirty="0"/>
              <a:t>based</a:t>
            </a:r>
            <a:r>
              <a:rPr spc="5" dirty="0"/>
              <a:t> </a:t>
            </a:r>
            <a:r>
              <a:rPr spc="-10" dirty="0"/>
              <a:t>on</a:t>
            </a:r>
            <a:r>
              <a:rPr dirty="0"/>
              <a:t> </a:t>
            </a:r>
            <a:r>
              <a:rPr spc="-30" dirty="0"/>
              <a:t>predictor </a:t>
            </a:r>
            <a:r>
              <a:rPr spc="-10" dirty="0"/>
              <a:t>variables</a:t>
            </a:r>
          </a:p>
          <a:p>
            <a:pPr marL="604520">
              <a:lnSpc>
                <a:spcPts val="1175"/>
              </a:lnSpc>
            </a:pPr>
            <a:r>
              <a:rPr sz="1000" spc="-30" dirty="0"/>
              <a:t>Examples:</a:t>
            </a:r>
            <a:r>
              <a:rPr sz="1000" spc="85" dirty="0"/>
              <a:t> </a:t>
            </a:r>
            <a:r>
              <a:rPr sz="1000" spc="-30" dirty="0"/>
              <a:t>linear</a:t>
            </a:r>
            <a:r>
              <a:rPr sz="1000" spc="-15" dirty="0"/>
              <a:t> </a:t>
            </a:r>
            <a:r>
              <a:rPr sz="1000" spc="-50" dirty="0"/>
              <a:t>regression,</a:t>
            </a:r>
            <a:r>
              <a:rPr sz="1000" spc="-15" dirty="0"/>
              <a:t> </a:t>
            </a:r>
            <a:r>
              <a:rPr sz="1000" spc="-25" dirty="0"/>
              <a:t>boosting,</a:t>
            </a:r>
            <a:r>
              <a:rPr sz="1000" spc="-15" dirty="0"/>
              <a:t> </a:t>
            </a:r>
            <a:r>
              <a:rPr sz="1000" spc="-30" dirty="0"/>
              <a:t>support</a:t>
            </a:r>
            <a:r>
              <a:rPr sz="1000" spc="-10" dirty="0"/>
              <a:t> </a:t>
            </a:r>
            <a:r>
              <a:rPr sz="1000" spc="-30" dirty="0"/>
              <a:t>vector</a:t>
            </a:r>
            <a:r>
              <a:rPr sz="1000" spc="-15" dirty="0"/>
              <a:t> </a:t>
            </a:r>
            <a:r>
              <a:rPr sz="1000" spc="-45" dirty="0"/>
              <a:t>machines</a:t>
            </a:r>
            <a:r>
              <a:rPr sz="1000" spc="-15" dirty="0"/>
              <a:t> </a:t>
            </a:r>
            <a:r>
              <a:rPr sz="1000" spc="-10" dirty="0"/>
              <a:t>(SVM)</a:t>
            </a:r>
            <a:endParaRPr sz="1000"/>
          </a:p>
          <a:p>
            <a:pPr marL="327660" marR="201295">
              <a:lnSpc>
                <a:spcPct val="102600"/>
              </a:lnSpc>
              <a:spcBef>
                <a:spcPts val="20"/>
              </a:spcBef>
            </a:pPr>
            <a:r>
              <a:rPr spc="-145" dirty="0">
                <a:latin typeface="Arial Black"/>
                <a:cs typeface="Arial Black"/>
              </a:rPr>
              <a:t>Unsupervised</a:t>
            </a:r>
            <a:r>
              <a:rPr spc="30" dirty="0">
                <a:latin typeface="Arial Black"/>
                <a:cs typeface="Arial Black"/>
              </a:rPr>
              <a:t> </a:t>
            </a:r>
            <a:r>
              <a:rPr spc="-140" dirty="0">
                <a:latin typeface="Arial Black"/>
                <a:cs typeface="Arial Black"/>
              </a:rPr>
              <a:t>learning</a:t>
            </a:r>
            <a:r>
              <a:rPr spc="-5" dirty="0">
                <a:latin typeface="Arial Black"/>
                <a:cs typeface="Arial Black"/>
              </a:rPr>
              <a:t> </a:t>
            </a:r>
            <a:r>
              <a:rPr spc="-55" dirty="0"/>
              <a:t>refers</a:t>
            </a:r>
            <a:r>
              <a:rPr spc="-5" dirty="0"/>
              <a:t> </a:t>
            </a:r>
            <a:r>
              <a:rPr dirty="0"/>
              <a:t>to</a:t>
            </a:r>
            <a:r>
              <a:rPr spc="5" dirty="0"/>
              <a:t> </a:t>
            </a:r>
            <a:r>
              <a:rPr spc="-50" dirty="0"/>
              <a:t>models</a:t>
            </a:r>
            <a:r>
              <a:rPr spc="10" dirty="0"/>
              <a:t> </a:t>
            </a:r>
            <a:r>
              <a:rPr spc="-60" dirty="0"/>
              <a:t>used</a:t>
            </a:r>
            <a:r>
              <a:rPr spc="10" dirty="0"/>
              <a:t> </a:t>
            </a:r>
            <a:r>
              <a:rPr dirty="0"/>
              <a:t>to</a:t>
            </a:r>
            <a:r>
              <a:rPr spc="10" dirty="0"/>
              <a:t> </a:t>
            </a:r>
            <a:r>
              <a:rPr spc="-35" dirty="0"/>
              <a:t>investigate</a:t>
            </a:r>
            <a:r>
              <a:rPr spc="5" dirty="0"/>
              <a:t> </a:t>
            </a:r>
            <a:r>
              <a:rPr spc="-45" dirty="0"/>
              <a:t>features</a:t>
            </a:r>
            <a:r>
              <a:rPr spc="10" dirty="0"/>
              <a:t> </a:t>
            </a:r>
            <a:r>
              <a:rPr spc="-40" dirty="0"/>
              <a:t>associated</a:t>
            </a:r>
            <a:r>
              <a:rPr spc="10" dirty="0"/>
              <a:t> </a:t>
            </a:r>
            <a:r>
              <a:rPr spc="-20" dirty="0"/>
              <a:t>with </a:t>
            </a:r>
            <a:r>
              <a:rPr spc="-10" dirty="0"/>
              <a:t>observations.</a:t>
            </a:r>
          </a:p>
          <a:p>
            <a:pPr marL="604520">
              <a:lnSpc>
                <a:spcPts val="1175"/>
              </a:lnSpc>
            </a:pPr>
            <a:r>
              <a:rPr sz="1000" spc="-20" dirty="0"/>
              <a:t>There</a:t>
            </a:r>
            <a:r>
              <a:rPr sz="1000" spc="-35" dirty="0"/>
              <a:t> </a:t>
            </a:r>
            <a:r>
              <a:rPr sz="1000" dirty="0"/>
              <a:t>is</a:t>
            </a:r>
            <a:r>
              <a:rPr sz="1000" spc="-25" dirty="0"/>
              <a:t> </a:t>
            </a:r>
            <a:r>
              <a:rPr sz="1000" dirty="0"/>
              <a:t>no</a:t>
            </a:r>
            <a:r>
              <a:rPr sz="1000" spc="-25" dirty="0"/>
              <a:t> </a:t>
            </a:r>
            <a:r>
              <a:rPr sz="1000" spc="-60" dirty="0"/>
              <a:t>response</a:t>
            </a:r>
            <a:r>
              <a:rPr sz="1000" spc="-20" dirty="0"/>
              <a:t> </a:t>
            </a:r>
            <a:r>
              <a:rPr sz="1000" spc="-30" dirty="0"/>
              <a:t>variable</a:t>
            </a:r>
            <a:r>
              <a:rPr sz="1000" spc="-25" dirty="0"/>
              <a:t> </a:t>
            </a:r>
            <a:r>
              <a:rPr sz="1000" dirty="0"/>
              <a:t>to</a:t>
            </a:r>
            <a:r>
              <a:rPr sz="1000" spc="-25" dirty="0"/>
              <a:t> </a:t>
            </a:r>
            <a:r>
              <a:rPr sz="1000" spc="-10" dirty="0"/>
              <a:t>predict.</a:t>
            </a:r>
            <a:endParaRPr sz="1000"/>
          </a:p>
          <a:p>
            <a:pPr marL="604520" marR="786130">
              <a:lnSpc>
                <a:spcPts val="1200"/>
              </a:lnSpc>
              <a:spcBef>
                <a:spcPts val="35"/>
              </a:spcBef>
            </a:pPr>
            <a:r>
              <a:rPr sz="1000" dirty="0"/>
              <a:t>The</a:t>
            </a:r>
            <a:r>
              <a:rPr sz="1000" spc="-20" dirty="0"/>
              <a:t> goal </a:t>
            </a:r>
            <a:r>
              <a:rPr sz="1000" dirty="0"/>
              <a:t>is</a:t>
            </a:r>
            <a:r>
              <a:rPr sz="1000" spc="-15" dirty="0"/>
              <a:t> </a:t>
            </a:r>
            <a:r>
              <a:rPr sz="1000" dirty="0"/>
              <a:t>to</a:t>
            </a:r>
            <a:r>
              <a:rPr sz="1000" spc="-15" dirty="0"/>
              <a:t> </a:t>
            </a:r>
            <a:r>
              <a:rPr sz="1000" spc="-45" dirty="0"/>
              <a:t>understand</a:t>
            </a:r>
            <a:r>
              <a:rPr sz="1000" spc="-15" dirty="0"/>
              <a:t> </a:t>
            </a:r>
            <a:r>
              <a:rPr sz="1000" spc="-20" dirty="0"/>
              <a:t>the </a:t>
            </a:r>
            <a:r>
              <a:rPr sz="1000" spc="-30" dirty="0"/>
              <a:t>relationship</a:t>
            </a:r>
            <a:r>
              <a:rPr sz="1000" spc="-15" dirty="0"/>
              <a:t> </a:t>
            </a:r>
            <a:r>
              <a:rPr sz="1000" spc="-65" dirty="0"/>
              <a:t>between</a:t>
            </a:r>
            <a:r>
              <a:rPr sz="1000" spc="-15" dirty="0"/>
              <a:t> </a:t>
            </a:r>
            <a:r>
              <a:rPr sz="1000" spc="-35" dirty="0"/>
              <a:t>variables</a:t>
            </a:r>
            <a:r>
              <a:rPr sz="1000" spc="-15" dirty="0"/>
              <a:t> </a:t>
            </a:r>
            <a:r>
              <a:rPr sz="1000" spc="-10" dirty="0"/>
              <a:t>or</a:t>
            </a:r>
            <a:r>
              <a:rPr sz="1000" spc="-15" dirty="0"/>
              <a:t> </a:t>
            </a:r>
            <a:r>
              <a:rPr sz="1000" spc="-30" dirty="0"/>
              <a:t>observations. </a:t>
            </a:r>
            <a:r>
              <a:rPr sz="1000" spc="-25" dirty="0"/>
              <a:t>Example:</a:t>
            </a:r>
            <a:r>
              <a:rPr sz="1000" spc="35" dirty="0"/>
              <a:t> </a:t>
            </a:r>
            <a:r>
              <a:rPr sz="1000" spc="-10" dirty="0"/>
              <a:t>clustering</a:t>
            </a:r>
            <a:endParaRPr sz="1000"/>
          </a:p>
          <a:p>
            <a:pPr marL="327660" marR="5080">
              <a:lnSpc>
                <a:spcPts val="1350"/>
              </a:lnSpc>
              <a:spcBef>
                <a:spcPts val="35"/>
              </a:spcBef>
            </a:pPr>
            <a:r>
              <a:rPr spc="-130" dirty="0">
                <a:latin typeface="Arial Black"/>
                <a:cs typeface="Arial Black"/>
              </a:rPr>
              <a:t>Semi-</a:t>
            </a:r>
            <a:r>
              <a:rPr spc="-145" dirty="0">
                <a:latin typeface="Arial Black"/>
                <a:cs typeface="Arial Black"/>
              </a:rPr>
              <a:t>supervised</a:t>
            </a:r>
            <a:r>
              <a:rPr spc="30" dirty="0">
                <a:latin typeface="Arial Black"/>
                <a:cs typeface="Arial Black"/>
              </a:rPr>
              <a:t> </a:t>
            </a:r>
            <a:r>
              <a:rPr spc="-140" dirty="0">
                <a:latin typeface="Arial Black"/>
                <a:cs typeface="Arial Black"/>
              </a:rPr>
              <a:t>learning</a:t>
            </a:r>
            <a:r>
              <a:rPr spc="-5" dirty="0">
                <a:latin typeface="Arial Black"/>
                <a:cs typeface="Arial Black"/>
              </a:rPr>
              <a:t> </a:t>
            </a:r>
            <a:r>
              <a:rPr spc="-40" dirty="0"/>
              <a:t>involves</a:t>
            </a:r>
            <a:r>
              <a:rPr spc="-50" dirty="0"/>
              <a:t> </a:t>
            </a:r>
            <a:r>
              <a:rPr dirty="0"/>
              <a:t>a</a:t>
            </a:r>
            <a:r>
              <a:rPr spc="-15" dirty="0"/>
              <a:t> </a:t>
            </a:r>
            <a:r>
              <a:rPr spc="-20" dirty="0"/>
              <a:t>set</a:t>
            </a:r>
            <a:r>
              <a:rPr spc="-10" dirty="0"/>
              <a:t> </a:t>
            </a:r>
            <a:r>
              <a:rPr dirty="0"/>
              <a:t>of</a:t>
            </a:r>
            <a:r>
              <a:rPr spc="-5" dirty="0"/>
              <a:t> </a:t>
            </a:r>
            <a:r>
              <a:rPr spc="-45" dirty="0"/>
              <a:t>observations,</a:t>
            </a:r>
            <a:r>
              <a:rPr spc="-10" dirty="0"/>
              <a:t> </a:t>
            </a:r>
            <a:r>
              <a:rPr spc="-65" dirty="0"/>
              <a:t>some</a:t>
            </a:r>
            <a:r>
              <a:rPr spc="-10" dirty="0"/>
              <a:t> </a:t>
            </a:r>
            <a:r>
              <a:rPr dirty="0"/>
              <a:t>of</a:t>
            </a:r>
            <a:r>
              <a:rPr spc="-5" dirty="0"/>
              <a:t> </a:t>
            </a:r>
            <a:r>
              <a:rPr spc="-25" dirty="0"/>
              <a:t>which</a:t>
            </a:r>
            <a:r>
              <a:rPr spc="-10" dirty="0"/>
              <a:t> </a:t>
            </a:r>
            <a:r>
              <a:rPr spc="-55" dirty="0"/>
              <a:t>have</a:t>
            </a:r>
            <a:r>
              <a:rPr spc="-10" dirty="0"/>
              <a:t> </a:t>
            </a:r>
            <a:r>
              <a:rPr spc="-20" dirty="0"/>
              <a:t>both </a:t>
            </a:r>
            <a:r>
              <a:rPr spc="-40" dirty="0"/>
              <a:t>predictor</a:t>
            </a:r>
            <a:r>
              <a:rPr spc="-25" dirty="0"/>
              <a:t> </a:t>
            </a:r>
            <a:r>
              <a:rPr spc="-35" dirty="0"/>
              <a:t>and</a:t>
            </a:r>
            <a:r>
              <a:rPr spc="-25" dirty="0"/>
              <a:t> </a:t>
            </a:r>
            <a:r>
              <a:rPr spc="-65" dirty="0"/>
              <a:t>response</a:t>
            </a:r>
            <a:r>
              <a:rPr spc="-20" dirty="0"/>
              <a:t> </a:t>
            </a:r>
            <a:r>
              <a:rPr spc="-40" dirty="0"/>
              <a:t>variables</a:t>
            </a:r>
            <a:r>
              <a:rPr spc="-25" dirty="0"/>
              <a:t> </a:t>
            </a:r>
            <a:r>
              <a:rPr spc="-35" dirty="0"/>
              <a:t>and</a:t>
            </a:r>
            <a:r>
              <a:rPr spc="-20" dirty="0"/>
              <a:t> </a:t>
            </a:r>
            <a:r>
              <a:rPr spc="-65" dirty="0"/>
              <a:t>some</a:t>
            </a:r>
            <a:r>
              <a:rPr spc="-25" dirty="0"/>
              <a:t> </a:t>
            </a:r>
            <a:r>
              <a:rPr dirty="0"/>
              <a:t>with</a:t>
            </a:r>
            <a:r>
              <a:rPr spc="-20" dirty="0"/>
              <a:t> only</a:t>
            </a:r>
            <a:r>
              <a:rPr spc="-25" dirty="0"/>
              <a:t> </a:t>
            </a:r>
            <a:r>
              <a:rPr spc="-40" dirty="0"/>
              <a:t>predictor</a:t>
            </a:r>
            <a:r>
              <a:rPr spc="-25" dirty="0"/>
              <a:t> </a:t>
            </a:r>
            <a:r>
              <a:rPr spc="-35" dirty="0"/>
              <a:t>variables.</a:t>
            </a:r>
            <a:r>
              <a:rPr spc="85" dirty="0"/>
              <a:t> </a:t>
            </a:r>
            <a:r>
              <a:rPr dirty="0"/>
              <a:t>(Not</a:t>
            </a:r>
            <a:r>
              <a:rPr spc="-20" dirty="0"/>
              <a:t> </a:t>
            </a:r>
            <a:r>
              <a:rPr spc="-55" dirty="0"/>
              <a:t>covered</a:t>
            </a:r>
            <a:r>
              <a:rPr spc="-25" dirty="0"/>
              <a:t> in </a:t>
            </a:r>
            <a:r>
              <a:rPr dirty="0"/>
              <a:t>this</a:t>
            </a:r>
            <a:r>
              <a:rPr spc="-75" dirty="0"/>
              <a:t> </a:t>
            </a:r>
            <a:r>
              <a:rPr spc="-10" dirty="0"/>
              <a:t>module)</a:t>
            </a:r>
          </a:p>
        </p:txBody>
      </p:sp>
      <p:grpSp>
        <p:nvGrpSpPr>
          <p:cNvPr id="4" name="object 4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5" name="object 5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" name="object 9"/>
          <p:cNvSpPr txBox="1"/>
          <p:nvPr/>
        </p:nvSpPr>
        <p:spPr>
          <a:xfrm>
            <a:off x="2194839" y="3106011"/>
            <a:ext cx="13703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6.1:</a:t>
            </a:r>
            <a:r>
              <a:rPr sz="600" spc="1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Introduction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to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Statistical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0" name="object 10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7465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15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3</a:t>
            </a:r>
          </a:p>
        </p:txBody>
      </p:sp>
      <p:sp>
        <p:nvSpPr>
          <p:cNvPr id="11" name="object 8">
            <a:extLst>
              <a:ext uri="{FF2B5EF4-FFF2-40B4-BE49-F238E27FC236}">
                <a16:creationId xmlns:a16="http://schemas.microsoft.com/office/drawing/2014/main" id="{4983A477-1C6F-AA98-5EEA-E7BB57B1D279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</p:spTree>
  </p:cSld>
  <p:clrMapOvr>
    <a:masterClrMapping/>
  </p:clrMapOvr>
  <p:transition>
    <p:cut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55" dirty="0"/>
              <a:t>Regression</a:t>
            </a:r>
            <a:r>
              <a:rPr spc="-50" dirty="0"/>
              <a:t> </a:t>
            </a:r>
            <a:r>
              <a:rPr spc="-10" dirty="0"/>
              <a:t>vs</a:t>
            </a:r>
            <a:r>
              <a:rPr spc="-45" dirty="0"/>
              <a:t> </a:t>
            </a:r>
            <a:r>
              <a:rPr spc="-25" dirty="0"/>
              <a:t>Classification</a:t>
            </a:r>
            <a:r>
              <a:rPr spc="-50" dirty="0"/>
              <a:t> </a:t>
            </a:r>
            <a:r>
              <a:rPr spc="-25" dirty="0"/>
              <a:t>Problems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402932" y="1004276"/>
            <a:ext cx="4868545" cy="118364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ts val="1310"/>
              </a:lnSpc>
              <a:spcBef>
                <a:spcPts val="90"/>
              </a:spcBef>
            </a:pPr>
            <a:r>
              <a:rPr sz="1100" spc="-35" dirty="0">
                <a:latin typeface="Tahoma"/>
                <a:cs typeface="Tahoma"/>
              </a:rPr>
              <a:t>Variables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can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be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either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qualitativ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or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quantitative.</a:t>
            </a:r>
            <a:endParaRPr sz="1100">
              <a:latin typeface="Tahoma"/>
              <a:cs typeface="Tahoma"/>
            </a:endParaRPr>
          </a:p>
          <a:p>
            <a:pPr marL="289560">
              <a:lnSpc>
                <a:spcPts val="1185"/>
              </a:lnSpc>
            </a:pPr>
            <a:r>
              <a:rPr sz="1000" spc="-105" dirty="0">
                <a:latin typeface="Arial Black"/>
                <a:cs typeface="Arial Black"/>
              </a:rPr>
              <a:t>Quantitative</a:t>
            </a:r>
            <a:r>
              <a:rPr sz="1000" spc="-5" dirty="0">
                <a:latin typeface="Arial Black"/>
                <a:cs typeface="Arial Black"/>
              </a:rPr>
              <a:t> </a:t>
            </a:r>
            <a:r>
              <a:rPr sz="1000" spc="-35" dirty="0">
                <a:latin typeface="Tahoma"/>
                <a:cs typeface="Tahoma"/>
              </a:rPr>
              <a:t>variables</a:t>
            </a:r>
            <a:r>
              <a:rPr sz="1000" spc="-45" dirty="0">
                <a:latin typeface="Tahoma"/>
                <a:cs typeface="Tahoma"/>
              </a:rPr>
              <a:t> </a:t>
            </a:r>
            <a:r>
              <a:rPr sz="1000" spc="-50" dirty="0">
                <a:latin typeface="Tahoma"/>
                <a:cs typeface="Tahoma"/>
              </a:rPr>
              <a:t>have</a:t>
            </a:r>
            <a:r>
              <a:rPr sz="1000" spc="-20" dirty="0">
                <a:latin typeface="Tahoma"/>
                <a:cs typeface="Tahoma"/>
              </a:rPr>
              <a:t> </a:t>
            </a:r>
            <a:r>
              <a:rPr sz="1000" spc="-30" dirty="0">
                <a:latin typeface="Tahoma"/>
                <a:cs typeface="Tahoma"/>
              </a:rPr>
              <a:t>numerical</a:t>
            </a:r>
            <a:r>
              <a:rPr sz="1000" spc="-20" dirty="0">
                <a:latin typeface="Tahoma"/>
                <a:cs typeface="Tahoma"/>
              </a:rPr>
              <a:t> </a:t>
            </a:r>
            <a:r>
              <a:rPr sz="1000" spc="-40" dirty="0">
                <a:latin typeface="Tahoma"/>
                <a:cs typeface="Tahoma"/>
              </a:rPr>
              <a:t>values</a:t>
            </a:r>
            <a:r>
              <a:rPr sz="1000" spc="-15" dirty="0">
                <a:latin typeface="Tahoma"/>
                <a:cs typeface="Tahoma"/>
              </a:rPr>
              <a:t> </a:t>
            </a:r>
            <a:r>
              <a:rPr sz="1000" spc="-20" dirty="0">
                <a:latin typeface="Tahoma"/>
                <a:cs typeface="Tahoma"/>
              </a:rPr>
              <a:t>(ex:</a:t>
            </a:r>
            <a:r>
              <a:rPr sz="1000" spc="85" dirty="0">
                <a:latin typeface="Tahoma"/>
                <a:cs typeface="Tahoma"/>
              </a:rPr>
              <a:t> </a:t>
            </a:r>
            <a:r>
              <a:rPr sz="1000" spc="-45" dirty="0">
                <a:latin typeface="Tahoma"/>
                <a:cs typeface="Tahoma"/>
              </a:rPr>
              <a:t>age,</a:t>
            </a:r>
            <a:r>
              <a:rPr sz="1000" spc="-20" dirty="0">
                <a:latin typeface="Tahoma"/>
                <a:cs typeface="Tahoma"/>
              </a:rPr>
              <a:t> </a:t>
            </a:r>
            <a:r>
              <a:rPr sz="1000" spc="-40" dirty="0">
                <a:latin typeface="Tahoma"/>
                <a:cs typeface="Tahoma"/>
              </a:rPr>
              <a:t>monetary</a:t>
            </a:r>
            <a:r>
              <a:rPr sz="1000" spc="-15" dirty="0">
                <a:latin typeface="Tahoma"/>
                <a:cs typeface="Tahoma"/>
              </a:rPr>
              <a:t> </a:t>
            </a:r>
            <a:r>
              <a:rPr sz="1000" spc="-30" dirty="0">
                <a:latin typeface="Tahoma"/>
                <a:cs typeface="Tahoma"/>
              </a:rPr>
              <a:t>value,</a:t>
            </a:r>
            <a:r>
              <a:rPr sz="1000" spc="-15" dirty="0">
                <a:latin typeface="Tahoma"/>
                <a:cs typeface="Tahoma"/>
              </a:rPr>
              <a:t> </a:t>
            </a:r>
            <a:r>
              <a:rPr sz="1000" spc="-10" dirty="0">
                <a:latin typeface="Tahoma"/>
                <a:cs typeface="Tahoma"/>
              </a:rPr>
              <a:t>etc.)</a:t>
            </a:r>
            <a:endParaRPr sz="1000">
              <a:latin typeface="Tahoma"/>
              <a:cs typeface="Tahoma"/>
            </a:endParaRPr>
          </a:p>
          <a:p>
            <a:pPr marL="289560">
              <a:lnSpc>
                <a:spcPts val="1200"/>
              </a:lnSpc>
            </a:pPr>
            <a:r>
              <a:rPr sz="1000" spc="-100" dirty="0">
                <a:latin typeface="Arial Black"/>
                <a:cs typeface="Arial Black"/>
              </a:rPr>
              <a:t>Qualitative</a:t>
            </a:r>
            <a:r>
              <a:rPr sz="1000" spc="-5" dirty="0">
                <a:latin typeface="Arial Black"/>
                <a:cs typeface="Arial Black"/>
              </a:rPr>
              <a:t> </a:t>
            </a:r>
            <a:r>
              <a:rPr sz="1000" spc="-35" dirty="0">
                <a:latin typeface="Tahoma"/>
                <a:cs typeface="Tahoma"/>
              </a:rPr>
              <a:t>variables</a:t>
            </a:r>
            <a:r>
              <a:rPr sz="1000" spc="-45" dirty="0">
                <a:latin typeface="Tahoma"/>
                <a:cs typeface="Tahoma"/>
              </a:rPr>
              <a:t> </a:t>
            </a:r>
            <a:r>
              <a:rPr sz="1000" spc="-50" dirty="0">
                <a:latin typeface="Tahoma"/>
                <a:cs typeface="Tahoma"/>
              </a:rPr>
              <a:t>are</a:t>
            </a:r>
            <a:r>
              <a:rPr sz="1000" spc="-30" dirty="0">
                <a:latin typeface="Tahoma"/>
                <a:cs typeface="Tahoma"/>
              </a:rPr>
              <a:t> categorical</a:t>
            </a:r>
            <a:r>
              <a:rPr sz="1000" spc="-45" dirty="0">
                <a:latin typeface="Tahoma"/>
                <a:cs typeface="Tahoma"/>
              </a:rPr>
              <a:t> </a:t>
            </a:r>
            <a:r>
              <a:rPr sz="1000" spc="-40" dirty="0">
                <a:latin typeface="Tahoma"/>
                <a:cs typeface="Tahoma"/>
              </a:rPr>
              <a:t>values </a:t>
            </a:r>
            <a:r>
              <a:rPr sz="1000" spc="-20" dirty="0">
                <a:latin typeface="Tahoma"/>
                <a:cs typeface="Tahoma"/>
              </a:rPr>
              <a:t>(ex:</a:t>
            </a:r>
            <a:r>
              <a:rPr sz="1000" spc="55" dirty="0">
                <a:latin typeface="Tahoma"/>
                <a:cs typeface="Tahoma"/>
              </a:rPr>
              <a:t> </a:t>
            </a:r>
            <a:r>
              <a:rPr sz="1000" spc="-10" dirty="0">
                <a:latin typeface="Tahoma"/>
                <a:cs typeface="Tahoma"/>
              </a:rPr>
              <a:t>{small,</a:t>
            </a:r>
            <a:r>
              <a:rPr sz="1000" spc="-35" dirty="0">
                <a:latin typeface="Tahoma"/>
                <a:cs typeface="Tahoma"/>
              </a:rPr>
              <a:t> medium,</a:t>
            </a:r>
            <a:r>
              <a:rPr sz="1000" spc="-30" dirty="0">
                <a:latin typeface="Tahoma"/>
                <a:cs typeface="Tahoma"/>
              </a:rPr>
              <a:t> </a:t>
            </a:r>
            <a:r>
              <a:rPr sz="1000" spc="-25" dirty="0">
                <a:latin typeface="Tahoma"/>
                <a:cs typeface="Tahoma"/>
              </a:rPr>
              <a:t>large}</a:t>
            </a:r>
            <a:r>
              <a:rPr sz="1000" spc="-30" dirty="0">
                <a:latin typeface="Tahoma"/>
                <a:cs typeface="Tahoma"/>
              </a:rPr>
              <a:t> </a:t>
            </a:r>
            <a:r>
              <a:rPr sz="1000" spc="-10" dirty="0">
                <a:latin typeface="Tahoma"/>
                <a:cs typeface="Tahoma"/>
              </a:rPr>
              <a:t>or</a:t>
            </a:r>
            <a:r>
              <a:rPr sz="1000" spc="-30" dirty="0">
                <a:latin typeface="Tahoma"/>
                <a:cs typeface="Tahoma"/>
              </a:rPr>
              <a:t> </a:t>
            </a:r>
            <a:r>
              <a:rPr sz="1000" spc="-35" dirty="0">
                <a:latin typeface="Tahoma"/>
                <a:cs typeface="Tahoma"/>
              </a:rPr>
              <a:t>{yes,</a:t>
            </a:r>
            <a:r>
              <a:rPr sz="1000" spc="-30" dirty="0">
                <a:latin typeface="Tahoma"/>
                <a:cs typeface="Tahoma"/>
              </a:rPr>
              <a:t> </a:t>
            </a:r>
            <a:r>
              <a:rPr sz="1000" spc="-20" dirty="0">
                <a:latin typeface="Tahoma"/>
                <a:cs typeface="Tahoma"/>
              </a:rPr>
              <a:t>no})</a:t>
            </a:r>
            <a:endParaRPr sz="1000">
              <a:latin typeface="Tahoma"/>
              <a:cs typeface="Tahoma"/>
            </a:endParaRPr>
          </a:p>
          <a:p>
            <a:pPr marL="12700" marR="5080">
              <a:lnSpc>
                <a:spcPct val="102600"/>
              </a:lnSpc>
              <a:spcBef>
                <a:spcPts val="20"/>
              </a:spcBef>
            </a:pP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Problems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that 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involve</a:t>
            </a:r>
            <a:r>
              <a:rPr sz="1100" spc="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25" dirty="0">
                <a:solidFill>
                  <a:srgbClr val="FF0000"/>
                </a:solidFill>
                <a:latin typeface="Tahoma"/>
                <a:cs typeface="Tahoma"/>
              </a:rPr>
              <a:t>quantitative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65" dirty="0">
                <a:solidFill>
                  <a:srgbClr val="FF0000"/>
                </a:solidFill>
                <a:latin typeface="Tahoma"/>
                <a:cs typeface="Tahoma"/>
              </a:rPr>
              <a:t>response</a:t>
            </a:r>
            <a:r>
              <a:rPr sz="1100" spc="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variables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55" dirty="0">
                <a:solidFill>
                  <a:srgbClr val="FF0000"/>
                </a:solidFill>
                <a:latin typeface="Tahoma"/>
                <a:cs typeface="Tahoma"/>
              </a:rPr>
              <a:t>are</a:t>
            </a:r>
            <a:r>
              <a:rPr sz="1100" spc="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155" dirty="0">
                <a:solidFill>
                  <a:srgbClr val="FF0000"/>
                </a:solidFill>
                <a:latin typeface="Arial Black"/>
                <a:cs typeface="Arial Black"/>
              </a:rPr>
              <a:t>regression</a:t>
            </a:r>
            <a:r>
              <a:rPr sz="1100" spc="-5" dirty="0">
                <a:solidFill>
                  <a:srgbClr val="FF0000"/>
                </a:solidFill>
                <a:latin typeface="Arial Black"/>
                <a:cs typeface="Arial Black"/>
              </a:rPr>
              <a:t> 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problems. 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Problems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that</a:t>
            </a:r>
            <a:r>
              <a:rPr sz="1100" spc="-1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involve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qualitative</a:t>
            </a:r>
            <a:r>
              <a:rPr sz="1100" spc="-1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65" dirty="0">
                <a:solidFill>
                  <a:srgbClr val="FF0000"/>
                </a:solidFill>
                <a:latin typeface="Tahoma"/>
                <a:cs typeface="Tahoma"/>
              </a:rPr>
              <a:t>response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variables</a:t>
            </a:r>
            <a:r>
              <a:rPr sz="1100" spc="-1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55" dirty="0">
                <a:solidFill>
                  <a:srgbClr val="FF0000"/>
                </a:solidFill>
                <a:latin typeface="Tahoma"/>
                <a:cs typeface="Tahoma"/>
              </a:rPr>
              <a:t>are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140" dirty="0">
                <a:solidFill>
                  <a:srgbClr val="FF0000"/>
                </a:solidFill>
                <a:latin typeface="Arial Black"/>
                <a:cs typeface="Arial Black"/>
              </a:rPr>
              <a:t>classification</a:t>
            </a:r>
            <a:r>
              <a:rPr sz="1100" spc="-5" dirty="0">
                <a:solidFill>
                  <a:srgbClr val="FF0000"/>
                </a:solidFill>
                <a:latin typeface="Arial Black"/>
                <a:cs typeface="Arial Black"/>
              </a:rPr>
              <a:t> 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problems. </a:t>
            </a:r>
            <a:r>
              <a:rPr sz="1100" dirty="0">
                <a:latin typeface="Tahoma"/>
                <a:cs typeface="Tahoma"/>
              </a:rPr>
              <a:t>Thi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bit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generalisation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(logistic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regression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classification </a:t>
            </a:r>
            <a:r>
              <a:rPr sz="1100" spc="-35" dirty="0">
                <a:latin typeface="Tahoma"/>
                <a:cs typeface="Tahoma"/>
              </a:rPr>
              <a:t>method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but</a:t>
            </a:r>
            <a:r>
              <a:rPr sz="1100" spc="-25" dirty="0">
                <a:latin typeface="Tahoma"/>
                <a:cs typeface="Tahoma"/>
              </a:rPr>
              <a:t> its </a:t>
            </a:r>
            <a:r>
              <a:rPr sz="1100" spc="-20" dirty="0">
                <a:latin typeface="Tahoma"/>
                <a:cs typeface="Tahoma"/>
              </a:rPr>
              <a:t>output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numerical </a:t>
            </a:r>
            <a:r>
              <a:rPr sz="1100" spc="-30" dirty="0">
                <a:latin typeface="Tahoma"/>
                <a:cs typeface="Tahoma"/>
              </a:rPr>
              <a:t>so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can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b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thought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as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regression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method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as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well)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5" name="object 5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9" name="object 9"/>
          <p:cNvSpPr txBox="1"/>
          <p:nvPr/>
        </p:nvSpPr>
        <p:spPr>
          <a:xfrm>
            <a:off x="2194839" y="3106011"/>
            <a:ext cx="13703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6.1:</a:t>
            </a:r>
            <a:r>
              <a:rPr sz="600" spc="1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Introduction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to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Statistical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0" name="object 10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7465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16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3</a:t>
            </a:r>
          </a:p>
        </p:txBody>
      </p:sp>
    </p:spTree>
  </p:cSld>
  <p:clrMapOvr>
    <a:masterClrMapping/>
  </p:clrMapOvr>
  <p:transition>
    <p:cut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50" dirty="0"/>
              <a:t>Assessing</a:t>
            </a:r>
            <a:r>
              <a:rPr spc="-45" dirty="0"/>
              <a:t> </a:t>
            </a:r>
            <a:r>
              <a:rPr dirty="0"/>
              <a:t>Model</a:t>
            </a:r>
            <a:r>
              <a:rPr spc="-40" dirty="0"/>
              <a:t> </a:t>
            </a:r>
            <a:r>
              <a:rPr spc="-20" dirty="0"/>
              <a:t>Accuracy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25844" y="706677"/>
            <a:ext cx="5508625" cy="1935480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 marR="5080">
              <a:lnSpc>
                <a:spcPct val="102600"/>
              </a:lnSpc>
              <a:spcBef>
                <a:spcPts val="55"/>
              </a:spcBef>
            </a:pPr>
            <a:r>
              <a:rPr sz="1100" spc="-25" dirty="0">
                <a:latin typeface="Tahoma"/>
                <a:cs typeface="Tahoma"/>
              </a:rPr>
              <a:t>There</a:t>
            </a:r>
            <a:r>
              <a:rPr sz="1100" spc="-6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8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no</a:t>
            </a:r>
            <a:r>
              <a:rPr sz="1100" spc="-6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method </a:t>
            </a:r>
            <a:r>
              <a:rPr sz="1100" dirty="0">
                <a:latin typeface="Tahoma"/>
                <a:cs typeface="Tahoma"/>
              </a:rPr>
              <a:t>that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work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best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on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ll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data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set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so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5" dirty="0">
                <a:latin typeface="Tahoma"/>
                <a:cs typeface="Tahoma"/>
              </a:rPr>
              <a:t>we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need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80" dirty="0">
                <a:latin typeface="Tahoma"/>
                <a:cs typeface="Tahoma"/>
              </a:rPr>
              <a:t>way</a:t>
            </a:r>
            <a:r>
              <a:rPr sz="1100" spc="-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75" dirty="0">
                <a:latin typeface="Tahoma"/>
                <a:cs typeface="Tahoma"/>
              </a:rPr>
              <a:t>assess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quality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model’s </a:t>
            </a:r>
            <a:r>
              <a:rPr sz="1100" dirty="0">
                <a:latin typeface="Tahoma"/>
                <a:cs typeface="Tahoma"/>
              </a:rPr>
              <a:t>fit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data.</a:t>
            </a:r>
            <a:endParaRPr sz="1100">
              <a:latin typeface="Tahoma"/>
              <a:cs typeface="Tahoma"/>
            </a:endParaRPr>
          </a:p>
          <a:p>
            <a:pPr marL="289560">
              <a:lnSpc>
                <a:spcPct val="100000"/>
              </a:lnSpc>
              <a:spcBef>
                <a:spcPts val="710"/>
              </a:spcBef>
            </a:pPr>
            <a:r>
              <a:rPr sz="1100" spc="-10" dirty="0">
                <a:latin typeface="Tahoma"/>
                <a:cs typeface="Tahoma"/>
              </a:rPr>
              <a:t>Recall</a:t>
            </a:r>
            <a:r>
              <a:rPr sz="1100" spc="-8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hat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95" dirty="0">
                <a:latin typeface="Tahoma"/>
                <a:cs typeface="Tahoma"/>
              </a:rPr>
              <a:t>w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us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training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data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set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fit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model.</a:t>
            </a:r>
            <a:endParaRPr sz="1100">
              <a:latin typeface="Tahoma"/>
              <a:cs typeface="Tahoma"/>
            </a:endParaRPr>
          </a:p>
          <a:p>
            <a:pPr marL="289560" marR="429895">
              <a:lnSpc>
                <a:spcPct val="102600"/>
              </a:lnSpc>
              <a:spcBef>
                <a:spcPts val="5"/>
              </a:spcBef>
            </a:pPr>
            <a:r>
              <a:rPr sz="1100" dirty="0">
                <a:latin typeface="Tahoma"/>
                <a:cs typeface="Tahoma"/>
              </a:rPr>
              <a:t>Then</a:t>
            </a:r>
            <a:r>
              <a:rPr sz="1100" spc="-9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7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est</a:t>
            </a:r>
            <a:r>
              <a:rPr sz="1100" spc="-7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data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set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used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85" dirty="0">
                <a:latin typeface="Tahoma"/>
                <a:cs typeface="Tahoma"/>
              </a:rPr>
              <a:t>see</a:t>
            </a:r>
            <a:r>
              <a:rPr sz="1100" spc="-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how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well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model</a:t>
            </a:r>
            <a:r>
              <a:rPr sz="1100" spc="-45" dirty="0">
                <a:latin typeface="Tahoma"/>
                <a:cs typeface="Tahoma"/>
              </a:rPr>
              <a:t> performs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on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new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data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by </a:t>
            </a:r>
            <a:r>
              <a:rPr sz="1100" spc="-35" dirty="0">
                <a:latin typeface="Tahoma"/>
                <a:cs typeface="Tahoma"/>
              </a:rPr>
              <a:t>computing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som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est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statistic.</a:t>
            </a:r>
            <a:endParaRPr sz="1100">
              <a:latin typeface="Tahoma"/>
              <a:cs typeface="Tahoma"/>
            </a:endParaRPr>
          </a:p>
          <a:p>
            <a:pPr marL="289560" marR="211454">
              <a:lnSpc>
                <a:spcPct val="102600"/>
              </a:lnSpc>
            </a:pPr>
            <a:r>
              <a:rPr sz="1100" spc="-10" dirty="0">
                <a:latin typeface="Tahoma"/>
                <a:cs typeface="Tahoma"/>
              </a:rPr>
              <a:t>For</a:t>
            </a:r>
            <a:r>
              <a:rPr sz="1100" spc="-50" dirty="0">
                <a:latin typeface="Tahoma"/>
                <a:cs typeface="Tahoma"/>
              </a:rPr>
              <a:t> regression,</a:t>
            </a:r>
            <a:r>
              <a:rPr sz="110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dirty="0">
                <a:latin typeface="Tahoma"/>
                <a:cs typeface="Tahoma"/>
              </a:rPr>
              <a:t> </a:t>
            </a:r>
            <a:r>
              <a:rPr sz="1100" spc="-165" dirty="0">
                <a:latin typeface="Arial Black"/>
                <a:cs typeface="Arial Black"/>
              </a:rPr>
              <a:t>mean</a:t>
            </a:r>
            <a:r>
              <a:rPr sz="1100" spc="30" dirty="0">
                <a:latin typeface="Arial Black"/>
                <a:cs typeface="Arial Black"/>
              </a:rPr>
              <a:t> </a:t>
            </a:r>
            <a:r>
              <a:rPr sz="1100" spc="-160" dirty="0">
                <a:latin typeface="Arial Black"/>
                <a:cs typeface="Arial Black"/>
              </a:rPr>
              <a:t>squared</a:t>
            </a:r>
            <a:r>
              <a:rPr sz="1100" spc="30" dirty="0">
                <a:latin typeface="Arial Black"/>
                <a:cs typeface="Arial Black"/>
              </a:rPr>
              <a:t> </a:t>
            </a:r>
            <a:r>
              <a:rPr sz="1100" spc="-130" dirty="0">
                <a:latin typeface="Arial Black"/>
                <a:cs typeface="Arial Black"/>
              </a:rPr>
              <a:t>error</a:t>
            </a:r>
            <a:r>
              <a:rPr sz="1100" spc="-5" dirty="0">
                <a:latin typeface="Arial Black"/>
                <a:cs typeface="Arial Black"/>
              </a:rPr>
              <a:t> </a:t>
            </a:r>
            <a:r>
              <a:rPr sz="1100" dirty="0">
                <a:latin typeface="Tahoma"/>
                <a:cs typeface="Tahoma"/>
              </a:rPr>
              <a:t>(MSE) is </a:t>
            </a:r>
            <a:r>
              <a:rPr sz="1100" spc="-25" dirty="0">
                <a:latin typeface="Tahoma"/>
                <a:cs typeface="Tahoma"/>
              </a:rPr>
              <a:t>most</a:t>
            </a:r>
            <a:r>
              <a:rPr sz="110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common</a:t>
            </a:r>
            <a:r>
              <a:rPr sz="1100" spc="-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which</a:t>
            </a:r>
            <a:r>
              <a:rPr sz="110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measures</a:t>
            </a:r>
            <a:r>
              <a:rPr sz="110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how </a:t>
            </a:r>
            <a:r>
              <a:rPr sz="1100" spc="-35" dirty="0">
                <a:latin typeface="Tahoma"/>
                <a:cs typeface="Tahoma"/>
              </a:rPr>
              <a:t>close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predicted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response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r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tru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responses.</a:t>
            </a:r>
            <a:endParaRPr sz="1100">
              <a:latin typeface="Tahoma"/>
              <a:cs typeface="Tahoma"/>
            </a:endParaRPr>
          </a:p>
          <a:p>
            <a:pPr marR="769620" algn="ctr">
              <a:lnSpc>
                <a:spcPts val="1310"/>
              </a:lnSpc>
              <a:spcBef>
                <a:spcPts val="35"/>
              </a:spcBef>
            </a:pPr>
            <a:r>
              <a:rPr sz="1100" dirty="0">
                <a:latin typeface="Tahoma"/>
                <a:cs typeface="Tahoma"/>
              </a:rPr>
              <a:t>W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can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comput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MS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for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both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training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data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and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est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data.</a:t>
            </a:r>
            <a:endParaRPr sz="1100">
              <a:latin typeface="Tahoma"/>
              <a:cs typeface="Tahoma"/>
            </a:endParaRPr>
          </a:p>
          <a:p>
            <a:pPr marR="794385" algn="ctr">
              <a:lnSpc>
                <a:spcPts val="1185"/>
              </a:lnSpc>
            </a:pPr>
            <a:r>
              <a:rPr sz="1000" dirty="0">
                <a:latin typeface="Tahoma"/>
                <a:cs typeface="Tahoma"/>
              </a:rPr>
              <a:t>The</a:t>
            </a:r>
            <a:r>
              <a:rPr sz="1000" spc="-20" dirty="0">
                <a:latin typeface="Tahoma"/>
                <a:cs typeface="Tahoma"/>
              </a:rPr>
              <a:t> training </a:t>
            </a:r>
            <a:r>
              <a:rPr sz="1000" dirty="0">
                <a:latin typeface="Tahoma"/>
                <a:cs typeface="Tahoma"/>
              </a:rPr>
              <a:t>MSE</a:t>
            </a:r>
            <a:r>
              <a:rPr sz="1000" spc="-20" dirty="0">
                <a:latin typeface="Tahoma"/>
                <a:cs typeface="Tahoma"/>
              </a:rPr>
              <a:t> </a:t>
            </a:r>
            <a:r>
              <a:rPr sz="1000" dirty="0">
                <a:latin typeface="Tahoma"/>
                <a:cs typeface="Tahoma"/>
              </a:rPr>
              <a:t>will</a:t>
            </a:r>
            <a:r>
              <a:rPr sz="1000" spc="-20" dirty="0">
                <a:latin typeface="Tahoma"/>
                <a:cs typeface="Tahoma"/>
              </a:rPr>
              <a:t> </a:t>
            </a:r>
            <a:r>
              <a:rPr sz="1000" spc="-30" dirty="0">
                <a:latin typeface="Tahoma"/>
                <a:cs typeface="Tahoma"/>
              </a:rPr>
              <a:t>usually</a:t>
            </a:r>
            <a:r>
              <a:rPr sz="1000" spc="-20" dirty="0">
                <a:latin typeface="Tahoma"/>
                <a:cs typeface="Tahoma"/>
              </a:rPr>
              <a:t> </a:t>
            </a:r>
            <a:r>
              <a:rPr sz="1000" spc="-10" dirty="0">
                <a:latin typeface="Tahoma"/>
                <a:cs typeface="Tahoma"/>
              </a:rPr>
              <a:t>be</a:t>
            </a:r>
            <a:r>
              <a:rPr sz="1000" spc="-20" dirty="0">
                <a:latin typeface="Tahoma"/>
                <a:cs typeface="Tahoma"/>
              </a:rPr>
              <a:t> </a:t>
            </a:r>
            <a:r>
              <a:rPr sz="1000" spc="-50" dirty="0">
                <a:latin typeface="Tahoma"/>
                <a:cs typeface="Tahoma"/>
              </a:rPr>
              <a:t>lower</a:t>
            </a:r>
            <a:r>
              <a:rPr sz="1000" spc="-20" dirty="0">
                <a:latin typeface="Tahoma"/>
                <a:cs typeface="Tahoma"/>
              </a:rPr>
              <a:t> </a:t>
            </a:r>
            <a:r>
              <a:rPr sz="1000" spc="-10" dirty="0">
                <a:latin typeface="Tahoma"/>
                <a:cs typeface="Tahoma"/>
              </a:rPr>
              <a:t>(better)</a:t>
            </a:r>
            <a:r>
              <a:rPr sz="1000" spc="-20" dirty="0">
                <a:latin typeface="Tahoma"/>
                <a:cs typeface="Tahoma"/>
              </a:rPr>
              <a:t> </a:t>
            </a:r>
            <a:r>
              <a:rPr sz="1000" spc="-10" dirty="0">
                <a:latin typeface="Tahoma"/>
                <a:cs typeface="Tahoma"/>
              </a:rPr>
              <a:t>than</a:t>
            </a:r>
            <a:r>
              <a:rPr sz="1000" spc="-20" dirty="0">
                <a:latin typeface="Tahoma"/>
                <a:cs typeface="Tahoma"/>
              </a:rPr>
              <a:t> the</a:t>
            </a:r>
            <a:r>
              <a:rPr sz="1000" spc="-15" dirty="0">
                <a:latin typeface="Tahoma"/>
                <a:cs typeface="Tahoma"/>
              </a:rPr>
              <a:t> </a:t>
            </a:r>
            <a:r>
              <a:rPr sz="1000" spc="-10" dirty="0">
                <a:latin typeface="Tahoma"/>
                <a:cs typeface="Tahoma"/>
              </a:rPr>
              <a:t>test</a:t>
            </a:r>
            <a:r>
              <a:rPr sz="1000" spc="-20" dirty="0">
                <a:latin typeface="Tahoma"/>
                <a:cs typeface="Tahoma"/>
              </a:rPr>
              <a:t> MSE.</a:t>
            </a:r>
            <a:endParaRPr sz="1000">
              <a:latin typeface="Tahoma"/>
              <a:cs typeface="Tahoma"/>
            </a:endParaRPr>
          </a:p>
          <a:p>
            <a:pPr marL="566420" marR="118110">
              <a:lnSpc>
                <a:spcPts val="1200"/>
              </a:lnSpc>
              <a:spcBef>
                <a:spcPts val="35"/>
              </a:spcBef>
            </a:pPr>
            <a:r>
              <a:rPr sz="1000" dirty="0">
                <a:latin typeface="Tahoma"/>
                <a:cs typeface="Tahoma"/>
              </a:rPr>
              <a:t>We</a:t>
            </a:r>
            <a:r>
              <a:rPr sz="1000" spc="-55" dirty="0">
                <a:latin typeface="Tahoma"/>
                <a:cs typeface="Tahoma"/>
              </a:rPr>
              <a:t> </a:t>
            </a:r>
            <a:r>
              <a:rPr sz="1000" spc="-25" dirty="0">
                <a:latin typeface="Tahoma"/>
                <a:cs typeface="Tahoma"/>
              </a:rPr>
              <a:t>want </a:t>
            </a:r>
            <a:r>
              <a:rPr sz="1000" dirty="0">
                <a:latin typeface="Tahoma"/>
                <a:cs typeface="Tahoma"/>
              </a:rPr>
              <a:t>to</a:t>
            </a:r>
            <a:r>
              <a:rPr sz="1000" spc="-20" dirty="0">
                <a:latin typeface="Tahoma"/>
                <a:cs typeface="Tahoma"/>
              </a:rPr>
              <a:t> </a:t>
            </a:r>
            <a:r>
              <a:rPr sz="1000" spc="-40" dirty="0">
                <a:solidFill>
                  <a:srgbClr val="FF0000"/>
                </a:solidFill>
                <a:latin typeface="Tahoma"/>
                <a:cs typeface="Tahoma"/>
              </a:rPr>
              <a:t>choose</a:t>
            </a:r>
            <a:r>
              <a:rPr sz="1000" spc="-2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000" spc="-10" dirty="0">
                <a:solidFill>
                  <a:srgbClr val="FF0000"/>
                </a:solidFill>
                <a:latin typeface="Tahoma"/>
                <a:cs typeface="Tahoma"/>
              </a:rPr>
              <a:t>the</a:t>
            </a:r>
            <a:r>
              <a:rPr sz="1000" spc="-25" dirty="0">
                <a:solidFill>
                  <a:srgbClr val="FF0000"/>
                </a:solidFill>
                <a:latin typeface="Tahoma"/>
                <a:cs typeface="Tahoma"/>
              </a:rPr>
              <a:t> model</a:t>
            </a:r>
            <a:r>
              <a:rPr sz="1000" spc="-2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000" dirty="0">
                <a:solidFill>
                  <a:srgbClr val="FF0000"/>
                </a:solidFill>
                <a:latin typeface="Tahoma"/>
                <a:cs typeface="Tahoma"/>
              </a:rPr>
              <a:t>that</a:t>
            </a:r>
            <a:r>
              <a:rPr sz="1000" spc="-2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000" spc="-30" dirty="0">
                <a:solidFill>
                  <a:srgbClr val="FF0000"/>
                </a:solidFill>
                <a:latin typeface="Tahoma"/>
                <a:cs typeface="Tahoma"/>
              </a:rPr>
              <a:t>minimizes</a:t>
            </a:r>
            <a:r>
              <a:rPr sz="1000" spc="-2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000" spc="-20" dirty="0">
                <a:solidFill>
                  <a:srgbClr val="FF0000"/>
                </a:solidFill>
                <a:latin typeface="Tahoma"/>
                <a:cs typeface="Tahoma"/>
              </a:rPr>
              <a:t>the </a:t>
            </a:r>
            <a:r>
              <a:rPr sz="1000" spc="-10" dirty="0">
                <a:solidFill>
                  <a:srgbClr val="FF0000"/>
                </a:solidFill>
                <a:latin typeface="Tahoma"/>
                <a:cs typeface="Tahoma"/>
              </a:rPr>
              <a:t>test</a:t>
            </a:r>
            <a:r>
              <a:rPr sz="1000" spc="-2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000" dirty="0">
                <a:solidFill>
                  <a:srgbClr val="FF0000"/>
                </a:solidFill>
                <a:latin typeface="Tahoma"/>
                <a:cs typeface="Tahoma"/>
              </a:rPr>
              <a:t>MSE</a:t>
            </a:r>
            <a:r>
              <a:rPr sz="1000" spc="-2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000" spc="-35" dirty="0">
                <a:latin typeface="Tahoma"/>
                <a:cs typeface="Tahoma"/>
              </a:rPr>
              <a:t>since</a:t>
            </a:r>
            <a:r>
              <a:rPr sz="1000" spc="-20" dirty="0">
                <a:latin typeface="Tahoma"/>
                <a:cs typeface="Tahoma"/>
              </a:rPr>
              <a:t> </a:t>
            </a:r>
            <a:r>
              <a:rPr sz="1000" spc="-85" dirty="0">
                <a:latin typeface="Tahoma"/>
                <a:cs typeface="Tahoma"/>
              </a:rPr>
              <a:t>we</a:t>
            </a:r>
            <a:r>
              <a:rPr sz="1000" spc="5" dirty="0">
                <a:latin typeface="Tahoma"/>
                <a:cs typeface="Tahoma"/>
              </a:rPr>
              <a:t> </a:t>
            </a:r>
            <a:r>
              <a:rPr sz="1000" spc="-20" dirty="0">
                <a:latin typeface="Tahoma"/>
                <a:cs typeface="Tahoma"/>
              </a:rPr>
              <a:t>only</a:t>
            </a:r>
            <a:r>
              <a:rPr sz="1000" spc="-25" dirty="0">
                <a:latin typeface="Tahoma"/>
                <a:cs typeface="Tahoma"/>
              </a:rPr>
              <a:t> </a:t>
            </a:r>
            <a:r>
              <a:rPr sz="1000" spc="-20" dirty="0">
                <a:latin typeface="Tahoma"/>
                <a:cs typeface="Tahoma"/>
              </a:rPr>
              <a:t>really </a:t>
            </a:r>
            <a:r>
              <a:rPr sz="1000" spc="-45" dirty="0">
                <a:latin typeface="Tahoma"/>
                <a:cs typeface="Tahoma"/>
              </a:rPr>
              <a:t>care</a:t>
            </a:r>
            <a:r>
              <a:rPr sz="1000" spc="-25" dirty="0">
                <a:latin typeface="Tahoma"/>
                <a:cs typeface="Tahoma"/>
              </a:rPr>
              <a:t> </a:t>
            </a:r>
            <a:r>
              <a:rPr sz="1000" spc="-10" dirty="0">
                <a:latin typeface="Tahoma"/>
                <a:cs typeface="Tahoma"/>
              </a:rPr>
              <a:t>about </a:t>
            </a:r>
            <a:r>
              <a:rPr sz="1000" spc="-20" dirty="0">
                <a:latin typeface="Tahoma"/>
                <a:cs typeface="Tahoma"/>
              </a:rPr>
              <a:t>the</a:t>
            </a:r>
            <a:r>
              <a:rPr sz="1000" spc="-50" dirty="0">
                <a:latin typeface="Tahoma"/>
                <a:cs typeface="Tahoma"/>
              </a:rPr>
              <a:t> </a:t>
            </a:r>
            <a:r>
              <a:rPr sz="1000" spc="-45" dirty="0">
                <a:latin typeface="Tahoma"/>
                <a:cs typeface="Tahoma"/>
              </a:rPr>
              <a:t>performance</a:t>
            </a:r>
            <a:r>
              <a:rPr sz="1000" spc="-30" dirty="0">
                <a:latin typeface="Tahoma"/>
                <a:cs typeface="Tahoma"/>
              </a:rPr>
              <a:t> </a:t>
            </a:r>
            <a:r>
              <a:rPr sz="1000" dirty="0">
                <a:latin typeface="Tahoma"/>
                <a:cs typeface="Tahoma"/>
              </a:rPr>
              <a:t>of</a:t>
            </a:r>
            <a:r>
              <a:rPr sz="1000" spc="-35" dirty="0">
                <a:latin typeface="Tahoma"/>
                <a:cs typeface="Tahoma"/>
              </a:rPr>
              <a:t> </a:t>
            </a:r>
            <a:r>
              <a:rPr sz="1000" spc="-20" dirty="0">
                <a:latin typeface="Tahoma"/>
                <a:cs typeface="Tahoma"/>
              </a:rPr>
              <a:t>the</a:t>
            </a:r>
            <a:r>
              <a:rPr sz="1000" spc="-35" dirty="0">
                <a:latin typeface="Tahoma"/>
                <a:cs typeface="Tahoma"/>
              </a:rPr>
              <a:t> </a:t>
            </a:r>
            <a:r>
              <a:rPr sz="1000" spc="-25" dirty="0">
                <a:latin typeface="Tahoma"/>
                <a:cs typeface="Tahoma"/>
              </a:rPr>
              <a:t>model</a:t>
            </a:r>
            <a:r>
              <a:rPr sz="1000" spc="-35" dirty="0">
                <a:latin typeface="Tahoma"/>
                <a:cs typeface="Tahoma"/>
              </a:rPr>
              <a:t> </a:t>
            </a:r>
            <a:r>
              <a:rPr sz="1000" dirty="0">
                <a:latin typeface="Tahoma"/>
                <a:cs typeface="Tahoma"/>
              </a:rPr>
              <a:t>on</a:t>
            </a:r>
            <a:r>
              <a:rPr sz="1000" spc="-35" dirty="0">
                <a:latin typeface="Tahoma"/>
                <a:cs typeface="Tahoma"/>
              </a:rPr>
              <a:t> </a:t>
            </a:r>
            <a:r>
              <a:rPr sz="1000" spc="-55" dirty="0">
                <a:latin typeface="Tahoma"/>
                <a:cs typeface="Tahoma"/>
              </a:rPr>
              <a:t>new</a:t>
            </a:r>
            <a:r>
              <a:rPr sz="1000" spc="-25" dirty="0">
                <a:latin typeface="Tahoma"/>
                <a:cs typeface="Tahoma"/>
              </a:rPr>
              <a:t> </a:t>
            </a:r>
            <a:r>
              <a:rPr sz="1000" spc="-10" dirty="0">
                <a:latin typeface="Tahoma"/>
                <a:cs typeface="Tahoma"/>
              </a:rPr>
              <a:t>data.</a:t>
            </a:r>
            <a:endParaRPr sz="1000">
              <a:latin typeface="Tahoma"/>
              <a:cs typeface="Tahoma"/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5" name="object 5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9" name="object 9"/>
          <p:cNvSpPr txBox="1"/>
          <p:nvPr/>
        </p:nvSpPr>
        <p:spPr>
          <a:xfrm>
            <a:off x="2194839" y="3106011"/>
            <a:ext cx="13703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6.1:</a:t>
            </a:r>
            <a:r>
              <a:rPr sz="600" spc="1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Introduction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to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Statistical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0" name="object 10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7465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17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3</a:t>
            </a:r>
          </a:p>
        </p:txBody>
      </p:sp>
    </p:spTree>
  </p:cSld>
  <p:clrMapOvr>
    <a:masterClrMapping/>
  </p:clrMapOvr>
  <p:transition>
    <p:cut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50" dirty="0"/>
              <a:t>Assessing</a:t>
            </a:r>
            <a:r>
              <a:rPr spc="-45" dirty="0"/>
              <a:t> </a:t>
            </a:r>
            <a:r>
              <a:rPr dirty="0"/>
              <a:t>Model</a:t>
            </a:r>
            <a:r>
              <a:rPr spc="-40" dirty="0"/>
              <a:t> </a:t>
            </a:r>
            <a:r>
              <a:rPr spc="-20" dirty="0"/>
              <a:t>Accuracy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41844" y="903082"/>
            <a:ext cx="3394171" cy="1840571"/>
          </a:xfrm>
          <a:prstGeom prst="rect">
            <a:avLst/>
          </a:prstGeom>
        </p:spPr>
      </p:pic>
      <p:sp>
        <p:nvSpPr>
          <p:cNvPr id="4" name="object 4"/>
          <p:cNvSpPr txBox="1"/>
          <p:nvPr/>
        </p:nvSpPr>
        <p:spPr>
          <a:xfrm>
            <a:off x="125844" y="436218"/>
            <a:ext cx="5505450" cy="2637155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 marR="78105">
              <a:lnSpc>
                <a:spcPct val="102600"/>
              </a:lnSpc>
              <a:spcBef>
                <a:spcPts val="55"/>
              </a:spcBef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-6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left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plot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shows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thre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different </a:t>
            </a:r>
            <a:r>
              <a:rPr sz="1100" spc="-50" dirty="0">
                <a:latin typeface="Tahoma"/>
                <a:cs typeface="Tahoma"/>
              </a:rPr>
              <a:t>model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fit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data.</a:t>
            </a:r>
            <a:r>
              <a:rPr sz="1100" spc="8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right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plot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shows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training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MSE </a:t>
            </a:r>
            <a:r>
              <a:rPr sz="1100" spc="-30" dirty="0">
                <a:latin typeface="Tahoma"/>
                <a:cs typeface="Tahoma"/>
              </a:rPr>
              <a:t>(grey) </a:t>
            </a:r>
            <a:r>
              <a:rPr sz="1100" spc="-35" dirty="0">
                <a:latin typeface="Tahoma"/>
                <a:cs typeface="Tahoma"/>
              </a:rPr>
              <a:t>and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est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MS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(red)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versu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flexibility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model.</a:t>
            </a:r>
            <a:endParaRPr sz="1100">
              <a:latin typeface="Tahoma"/>
              <a:cs typeface="Tahoma"/>
            </a:endParaRPr>
          </a:p>
          <a:p>
            <a:pPr marL="4009390" marR="32384">
              <a:lnSpc>
                <a:spcPct val="102600"/>
              </a:lnSpc>
              <a:spcBef>
                <a:spcPts val="285"/>
              </a:spcBef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least </a:t>
            </a:r>
            <a:r>
              <a:rPr sz="1100" spc="-30" dirty="0">
                <a:latin typeface="Tahoma"/>
                <a:cs typeface="Tahoma"/>
              </a:rPr>
              <a:t>flexibl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model </a:t>
            </a:r>
            <a:r>
              <a:rPr sz="1100" spc="-45" dirty="0">
                <a:latin typeface="Tahoma"/>
                <a:cs typeface="Tahoma"/>
              </a:rPr>
              <a:t>(orange)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ha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worst training</a:t>
            </a:r>
            <a:r>
              <a:rPr sz="1100" spc="-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and</a:t>
            </a:r>
            <a:r>
              <a:rPr sz="110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est</a:t>
            </a:r>
            <a:r>
              <a:rPr sz="1100" dirty="0">
                <a:latin typeface="Tahoma"/>
                <a:cs typeface="Tahoma"/>
              </a:rPr>
              <a:t> MSE </a:t>
            </a:r>
            <a:r>
              <a:rPr sz="1100" spc="-55" dirty="0">
                <a:latin typeface="Tahoma"/>
                <a:cs typeface="Tahoma"/>
              </a:rPr>
              <a:t>so </a:t>
            </a:r>
            <a:r>
              <a:rPr sz="1100" dirty="0">
                <a:latin typeface="Tahoma"/>
                <a:cs typeface="Tahoma"/>
              </a:rPr>
              <a:t>it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does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not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fit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 </a:t>
            </a:r>
            <a:r>
              <a:rPr sz="1100" spc="-20" dirty="0">
                <a:latin typeface="Tahoma"/>
                <a:cs typeface="Tahoma"/>
              </a:rPr>
              <a:t>data </a:t>
            </a:r>
            <a:r>
              <a:rPr sz="1100" spc="-10" dirty="0">
                <a:latin typeface="Tahoma"/>
                <a:cs typeface="Tahoma"/>
              </a:rPr>
              <a:t>well.</a:t>
            </a:r>
            <a:endParaRPr sz="1100">
              <a:latin typeface="Tahoma"/>
              <a:cs typeface="Tahoma"/>
            </a:endParaRPr>
          </a:p>
          <a:p>
            <a:pPr marL="4009390" marR="5080">
              <a:lnSpc>
                <a:spcPct val="102600"/>
              </a:lnSpc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most</a:t>
            </a:r>
            <a:r>
              <a:rPr sz="1100" spc="-30" dirty="0">
                <a:latin typeface="Tahoma"/>
                <a:cs typeface="Tahoma"/>
              </a:rPr>
              <a:t> flexible </a:t>
            </a:r>
            <a:r>
              <a:rPr sz="1100" spc="-20" dirty="0">
                <a:latin typeface="Tahoma"/>
                <a:cs typeface="Tahoma"/>
              </a:rPr>
              <a:t>model </a:t>
            </a:r>
            <a:r>
              <a:rPr sz="1100" spc="-40" dirty="0">
                <a:latin typeface="Tahoma"/>
                <a:cs typeface="Tahoma"/>
              </a:rPr>
              <a:t>(green)</a:t>
            </a:r>
            <a:r>
              <a:rPr sz="1100" spc="-45" dirty="0">
                <a:latin typeface="Tahoma"/>
                <a:cs typeface="Tahoma"/>
              </a:rPr>
              <a:t> has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lowest </a:t>
            </a:r>
            <a:r>
              <a:rPr sz="1100" spc="-20" dirty="0">
                <a:latin typeface="Tahoma"/>
                <a:cs typeface="Tahoma"/>
              </a:rPr>
              <a:t>training</a:t>
            </a:r>
            <a:r>
              <a:rPr sz="1100" spc="-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MSE but</a:t>
            </a:r>
            <a:r>
              <a:rPr sz="1100" spc="-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 </a:t>
            </a:r>
            <a:r>
              <a:rPr sz="1100" spc="-50" dirty="0">
                <a:latin typeface="Tahoma"/>
                <a:cs typeface="Tahoma"/>
              </a:rPr>
              <a:t>much </a:t>
            </a:r>
            <a:r>
              <a:rPr sz="1100" spc="-35" dirty="0">
                <a:latin typeface="Tahoma"/>
                <a:cs typeface="Tahoma"/>
              </a:rPr>
              <a:t>higher</a:t>
            </a:r>
            <a:r>
              <a:rPr sz="1100" spc="-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est</a:t>
            </a:r>
            <a:r>
              <a:rPr sz="1100" spc="-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MSE</a:t>
            </a:r>
            <a:r>
              <a:rPr sz="1100" spc="-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so</a:t>
            </a:r>
            <a:r>
              <a:rPr sz="1100" spc="-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the </a:t>
            </a:r>
            <a:r>
              <a:rPr sz="1100" spc="-40" dirty="0">
                <a:latin typeface="Tahoma"/>
                <a:cs typeface="Tahoma"/>
              </a:rPr>
              <a:t>model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overfit.</a:t>
            </a:r>
            <a:endParaRPr sz="1100">
              <a:latin typeface="Tahoma"/>
              <a:cs typeface="Tahoma"/>
            </a:endParaRPr>
          </a:p>
          <a:p>
            <a:pPr marL="4009390" marR="113664" algn="just">
              <a:lnSpc>
                <a:spcPct val="102600"/>
              </a:lnSpc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blu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model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has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the </a:t>
            </a:r>
            <a:r>
              <a:rPr sz="1100" spc="-55" dirty="0">
                <a:latin typeface="Tahoma"/>
                <a:cs typeface="Tahoma"/>
              </a:rPr>
              <a:t>lowest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est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MS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so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t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is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6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winner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6" name="object 6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" name="object 9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209032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0" name="object 10"/>
          <p:cNvSpPr txBox="1"/>
          <p:nvPr/>
        </p:nvSpPr>
        <p:spPr>
          <a:xfrm>
            <a:off x="2194839" y="3106011"/>
            <a:ext cx="13703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6.1:</a:t>
            </a:r>
            <a:r>
              <a:rPr sz="600" spc="10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Introduction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to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Statistical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1" name="object 11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7465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18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3</a:t>
            </a:r>
          </a:p>
        </p:txBody>
      </p:sp>
    </p:spTree>
  </p:cSld>
  <p:clrMapOvr>
    <a:masterClrMapping/>
  </p:clrMapOvr>
  <p:transition>
    <p:cut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50" dirty="0"/>
              <a:t>Assessing</a:t>
            </a:r>
            <a:r>
              <a:rPr spc="-45" dirty="0"/>
              <a:t> </a:t>
            </a:r>
            <a:r>
              <a:rPr dirty="0"/>
              <a:t>Model</a:t>
            </a:r>
            <a:r>
              <a:rPr spc="-40" dirty="0"/>
              <a:t> </a:t>
            </a:r>
            <a:r>
              <a:rPr spc="-20" dirty="0"/>
              <a:t>Accuracy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25844" y="795411"/>
            <a:ext cx="5309235" cy="1574165"/>
          </a:xfrm>
          <a:prstGeom prst="rect">
            <a:avLst/>
          </a:prstGeom>
        </p:spPr>
        <p:txBody>
          <a:bodyPr vert="horz" wrap="square" lIns="0" tIns="10350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815"/>
              </a:spcBef>
            </a:pPr>
            <a:r>
              <a:rPr sz="1100" dirty="0">
                <a:latin typeface="Tahoma"/>
                <a:cs typeface="Tahoma"/>
              </a:rPr>
              <a:t>What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f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no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est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observation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r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available?</a:t>
            </a:r>
            <a:endParaRPr sz="1100" dirty="0">
              <a:latin typeface="Tahoma"/>
              <a:cs typeface="Tahoma"/>
            </a:endParaRPr>
          </a:p>
          <a:p>
            <a:pPr marL="289560" marR="22225">
              <a:lnSpc>
                <a:spcPct val="102600"/>
              </a:lnSpc>
              <a:spcBef>
                <a:spcPts val="675"/>
              </a:spcBef>
            </a:pPr>
            <a:r>
              <a:rPr sz="1100" dirty="0">
                <a:latin typeface="Tahoma"/>
                <a:cs typeface="Tahoma"/>
              </a:rPr>
              <a:t>As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95" dirty="0">
                <a:latin typeface="Tahoma"/>
                <a:cs typeface="Tahoma"/>
              </a:rPr>
              <a:t>w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saw,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ther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no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guarante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hat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model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hat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minimise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20" dirty="0">
                <a:latin typeface="Tahoma"/>
                <a:cs typeface="Tahoma"/>
              </a:rPr>
              <a:t> training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MSE</a:t>
            </a:r>
            <a:r>
              <a:rPr sz="1100" spc="-20" dirty="0">
                <a:latin typeface="Tahoma"/>
                <a:cs typeface="Tahoma"/>
              </a:rPr>
              <a:t> will </a:t>
            </a:r>
            <a:r>
              <a:rPr sz="1100" spc="-30" dirty="0">
                <a:latin typeface="Tahoma"/>
                <a:cs typeface="Tahoma"/>
              </a:rPr>
              <a:t>minimise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est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MSE.</a:t>
            </a:r>
            <a:endParaRPr sz="1100" dirty="0">
              <a:latin typeface="Tahoma"/>
              <a:cs typeface="Tahoma"/>
            </a:endParaRPr>
          </a:p>
          <a:p>
            <a:pPr marL="289560" marR="5080">
              <a:lnSpc>
                <a:spcPct val="102600"/>
              </a:lnSpc>
            </a:pP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As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model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flexibility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50" dirty="0">
                <a:solidFill>
                  <a:srgbClr val="FF0000"/>
                </a:solidFill>
                <a:latin typeface="Tahoma"/>
                <a:cs typeface="Tahoma"/>
              </a:rPr>
              <a:t>increases,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 the 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training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MSE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60" dirty="0">
                <a:solidFill>
                  <a:srgbClr val="FF0000"/>
                </a:solidFill>
                <a:latin typeface="Tahoma"/>
                <a:cs typeface="Tahoma"/>
              </a:rPr>
              <a:t>decreases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but</a:t>
            </a:r>
            <a:r>
              <a:rPr sz="1100" spc="-10" dirty="0">
                <a:latin typeface="Tahoma"/>
                <a:cs typeface="Tahoma"/>
              </a:rPr>
              <a:t> the test </a:t>
            </a:r>
            <a:r>
              <a:rPr sz="1100" dirty="0">
                <a:latin typeface="Tahoma"/>
                <a:cs typeface="Tahoma"/>
              </a:rPr>
              <a:t>MSE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may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not. </a:t>
            </a:r>
            <a:r>
              <a:rPr sz="1100" spc="55" dirty="0">
                <a:latin typeface="Tahoma"/>
                <a:cs typeface="Tahoma"/>
              </a:rPr>
              <a:t>A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model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25" dirty="0">
                <a:latin typeface="Tahoma"/>
                <a:cs typeface="Tahoma"/>
              </a:rPr>
              <a:t> said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b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overfit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f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less</a:t>
            </a:r>
            <a:r>
              <a:rPr sz="1100" spc="-30" dirty="0">
                <a:latin typeface="Tahoma"/>
                <a:cs typeface="Tahoma"/>
              </a:rPr>
              <a:t> flexibl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model </a:t>
            </a:r>
            <a:r>
              <a:rPr sz="1100" spc="-45" dirty="0">
                <a:latin typeface="Tahoma"/>
                <a:cs typeface="Tahoma"/>
              </a:rPr>
              <a:t>would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result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n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lower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est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MSE. </a:t>
            </a:r>
            <a:r>
              <a:rPr sz="1100" dirty="0">
                <a:latin typeface="Tahoma"/>
                <a:cs typeface="Tahoma"/>
              </a:rPr>
              <a:t>An</a:t>
            </a:r>
            <a:r>
              <a:rPr sz="1100" spc="-6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overfit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model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picking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up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on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patterns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n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training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data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hat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r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not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n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test </a:t>
            </a:r>
            <a:r>
              <a:rPr sz="1100" spc="-10" dirty="0">
                <a:latin typeface="Tahoma"/>
                <a:cs typeface="Tahoma"/>
              </a:rPr>
              <a:t>data.</a:t>
            </a:r>
            <a:endParaRPr sz="1100" dirty="0">
              <a:latin typeface="Tahoma"/>
              <a:cs typeface="Tahoma"/>
            </a:endParaRPr>
          </a:p>
          <a:p>
            <a:pPr marL="289560">
              <a:lnSpc>
                <a:spcPct val="100000"/>
              </a:lnSpc>
              <a:spcBef>
                <a:spcPts val="35"/>
              </a:spcBef>
            </a:pPr>
            <a:r>
              <a:rPr sz="1100" dirty="0">
                <a:latin typeface="Tahoma"/>
                <a:cs typeface="Tahoma"/>
              </a:rPr>
              <a:t>W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will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cover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many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pproache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for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estimating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est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MS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from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training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data.</a:t>
            </a:r>
            <a:endParaRPr sz="1100" dirty="0">
              <a:latin typeface="Tahoma"/>
              <a:cs typeface="Tahoma"/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5" name="object 5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" name="object 9"/>
          <p:cNvSpPr txBox="1"/>
          <p:nvPr/>
        </p:nvSpPr>
        <p:spPr>
          <a:xfrm>
            <a:off x="2194839" y="3106011"/>
            <a:ext cx="13703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6.1:</a:t>
            </a:r>
            <a:r>
              <a:rPr sz="600" spc="1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Introduction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to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Statistical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0" name="object 10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7465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19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3</a:t>
            </a:r>
          </a:p>
        </p:txBody>
      </p:sp>
      <p:sp>
        <p:nvSpPr>
          <p:cNvPr id="11" name="object 8">
            <a:extLst>
              <a:ext uri="{FF2B5EF4-FFF2-40B4-BE49-F238E27FC236}">
                <a16:creationId xmlns:a16="http://schemas.microsoft.com/office/drawing/2014/main" id="{A1D8975A-31A1-00EF-BF5A-F42614A96A2A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</p:spTree>
  </p:cSld>
  <p:clrMapOvr>
    <a:masterClrMapping/>
  </p:clrMapOvr>
  <p:transition>
    <p:cut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9AC4FFA3-0603-6C12-4F9B-D3A5C7ECF2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0011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C4FFA3-0603-6C12-4F9B-D3A5C7ECF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4486"/>
            <a:ext cx="2788920" cy="232756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lang="en-US" spc="-35" dirty="0"/>
              <a:t>Welcome! </a:t>
            </a:r>
            <a:endParaRPr spc="-35" dirty="0"/>
          </a:p>
        </p:txBody>
      </p:sp>
      <p:grpSp>
        <p:nvGrpSpPr>
          <p:cNvPr id="4" name="object 4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5" name="object 5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" name="object 9"/>
          <p:cNvSpPr txBox="1"/>
          <p:nvPr/>
        </p:nvSpPr>
        <p:spPr>
          <a:xfrm>
            <a:off x="2194839" y="3106011"/>
            <a:ext cx="13703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6.1:</a:t>
            </a:r>
            <a:r>
              <a:rPr sz="600" spc="1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Introduction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to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Statistical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0" name="object 10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2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3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E12395E-675A-E829-829A-19123B261EF2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6492" t="25974" r="14772" b="5506"/>
          <a:stretch/>
        </p:blipFill>
        <p:spPr>
          <a:xfrm>
            <a:off x="444500" y="860425"/>
            <a:ext cx="1598001" cy="212396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87C3D43B-0B6A-499A-0906-90ADB96A006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43437" y="861508"/>
            <a:ext cx="1579864" cy="2171394"/>
          </a:xfrm>
          <a:prstGeom prst="rect">
            <a:avLst/>
          </a:prstGeom>
        </p:spPr>
      </p:pic>
      <p:pic>
        <p:nvPicPr>
          <p:cNvPr id="1030" name="Picture 6" descr="Boston Consulting Group - Wikipedia">
            <a:extLst>
              <a:ext uri="{FF2B5EF4-FFF2-40B4-BE49-F238E27FC236}">
                <a16:creationId xmlns:a16="http://schemas.microsoft.com/office/drawing/2014/main" id="{BCD38E72-27A2-3A7D-695F-368A2BBF5A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4237" y="1134016"/>
            <a:ext cx="1405154" cy="14051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DDE45EA3-4D32-7B18-18B4-C228C563834D}"/>
              </a:ext>
            </a:extLst>
          </p:cNvPr>
          <p:cNvSpPr txBox="1"/>
          <p:nvPr/>
        </p:nvSpPr>
        <p:spPr>
          <a:xfrm>
            <a:off x="151617" y="464473"/>
            <a:ext cx="51345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amilah Ebrahim | kamilah.ebrahim@mail.utoronto.ca</a:t>
            </a:r>
          </a:p>
        </p:txBody>
      </p:sp>
      <p:sp>
        <p:nvSpPr>
          <p:cNvPr id="3" name="object 8">
            <a:extLst>
              <a:ext uri="{FF2B5EF4-FFF2-40B4-BE49-F238E27FC236}">
                <a16:creationId xmlns:a16="http://schemas.microsoft.com/office/drawing/2014/main" id="{F6359012-47CC-A751-75AB-DB0C0B233450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</p:spTree>
    <p:extLst>
      <p:ext uri="{BB962C8B-B14F-4D97-AF65-F5344CB8AC3E}">
        <p14:creationId xmlns:p14="http://schemas.microsoft.com/office/powerpoint/2010/main" val="1170210172"/>
      </p:ext>
    </p:extLst>
  </p:cSld>
  <p:clrMapOvr>
    <a:masterClrMapping/>
  </p:clrMapOvr>
  <p:transition>
    <p:cut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dirty="0"/>
              <a:t>The</a:t>
            </a:r>
            <a:r>
              <a:rPr spc="5" dirty="0"/>
              <a:t> </a:t>
            </a:r>
            <a:r>
              <a:rPr dirty="0"/>
              <a:t>Bias-</a:t>
            </a:r>
            <a:r>
              <a:rPr spc="-45" dirty="0"/>
              <a:t>Variance</a:t>
            </a:r>
            <a:r>
              <a:rPr dirty="0"/>
              <a:t> </a:t>
            </a:r>
            <a:r>
              <a:rPr spc="-45" dirty="0"/>
              <a:t>Trade-</a:t>
            </a:r>
            <a:r>
              <a:rPr spc="-25" dirty="0"/>
              <a:t>Off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00444" y="964766"/>
            <a:ext cx="5467985" cy="862965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38100" marR="84455">
              <a:lnSpc>
                <a:spcPct val="102699"/>
              </a:lnSpc>
              <a:spcBef>
                <a:spcPts val="55"/>
              </a:spcBef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est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MS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will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always</a:t>
            </a:r>
            <a:r>
              <a:rPr sz="1100" spc="-20" dirty="0">
                <a:latin typeface="Tahoma"/>
                <a:cs typeface="Tahoma"/>
              </a:rPr>
              <a:t> exhibit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U-</a:t>
            </a:r>
            <a:r>
              <a:rPr sz="1100" spc="-35" dirty="0">
                <a:latin typeface="Tahoma"/>
                <a:cs typeface="Tahoma"/>
              </a:rPr>
              <a:t>shaped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curv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as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function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model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flexibility.</a:t>
            </a:r>
            <a:r>
              <a:rPr sz="1100" spc="9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his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is </a:t>
            </a:r>
            <a:r>
              <a:rPr sz="1100" spc="-55" dirty="0">
                <a:latin typeface="Tahoma"/>
                <a:cs typeface="Tahoma"/>
              </a:rPr>
              <a:t>because</a:t>
            </a:r>
            <a:r>
              <a:rPr sz="1100" spc="-10" dirty="0">
                <a:latin typeface="Tahoma"/>
                <a:cs typeface="Tahoma"/>
              </a:rPr>
              <a:t> the </a:t>
            </a:r>
            <a:r>
              <a:rPr sz="1100" spc="-45" dirty="0">
                <a:latin typeface="Tahoma"/>
                <a:cs typeface="Tahoma"/>
              </a:rPr>
              <a:t>expected</a:t>
            </a:r>
            <a:r>
              <a:rPr sz="1100" spc="-10" dirty="0">
                <a:latin typeface="Tahoma"/>
                <a:cs typeface="Tahoma"/>
              </a:rPr>
              <a:t> test </a:t>
            </a:r>
            <a:r>
              <a:rPr sz="1100" dirty="0">
                <a:latin typeface="Tahoma"/>
                <a:cs typeface="Tahoma"/>
              </a:rPr>
              <a:t>MSE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for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some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observation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dirty="0">
                <a:latin typeface="Cambria"/>
                <a:cs typeface="Cambria"/>
              </a:rPr>
              <a:t>𝑥</a:t>
            </a:r>
            <a:r>
              <a:rPr sz="1125" baseline="-22222" dirty="0">
                <a:latin typeface="Cambria"/>
                <a:cs typeface="Cambria"/>
              </a:rPr>
              <a:t>0</a:t>
            </a:r>
            <a:r>
              <a:rPr sz="1125" spc="315" baseline="-22222" dirty="0">
                <a:latin typeface="Cambria"/>
                <a:cs typeface="Cambri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10" dirty="0">
                <a:latin typeface="Tahoma"/>
                <a:cs typeface="Tahoma"/>
              </a:rPr>
              <a:t> the </a:t>
            </a:r>
            <a:r>
              <a:rPr sz="1100" spc="-45" dirty="0">
                <a:latin typeface="Tahoma"/>
                <a:cs typeface="Tahoma"/>
              </a:rPr>
              <a:t>sum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of:</a:t>
            </a:r>
            <a:endParaRPr sz="1100" dirty="0">
              <a:latin typeface="Tahoma"/>
              <a:cs typeface="Tahoma"/>
            </a:endParaRPr>
          </a:p>
          <a:p>
            <a:pPr marL="314960" marR="30480">
              <a:lnSpc>
                <a:spcPct val="131900"/>
              </a:lnSpc>
              <a:spcBef>
                <a:spcPts val="440"/>
              </a:spcBef>
            </a:pPr>
            <a:r>
              <a:rPr sz="1100" dirty="0">
                <a:latin typeface="Palatino Linotype"/>
                <a:cs typeface="Palatino Linotype"/>
              </a:rPr>
              <a:t>Var</a:t>
            </a:r>
            <a:r>
              <a:rPr sz="1100" spc="-90" dirty="0">
                <a:latin typeface="Palatino Linotype"/>
                <a:cs typeface="Palatino Linotype"/>
              </a:rPr>
              <a:t> </a:t>
            </a:r>
            <a:r>
              <a:rPr sz="1100" spc="50" dirty="0">
                <a:latin typeface="Cambria"/>
                <a:cs typeface="Cambria"/>
              </a:rPr>
              <a:t>(𝑓</a:t>
            </a:r>
            <a:r>
              <a:rPr sz="1100" dirty="0">
                <a:latin typeface="Cambria"/>
                <a:cs typeface="Cambria"/>
              </a:rPr>
              <a:t> </a:t>
            </a:r>
            <a:r>
              <a:rPr sz="1650" baseline="15151" dirty="0">
                <a:latin typeface="Cambria"/>
                <a:cs typeface="Cambria"/>
              </a:rPr>
              <a:t>̂</a:t>
            </a:r>
            <a:r>
              <a:rPr sz="1100" dirty="0">
                <a:latin typeface="Cambria"/>
                <a:cs typeface="Cambria"/>
              </a:rPr>
              <a:t>(𝑥</a:t>
            </a:r>
            <a:r>
              <a:rPr sz="1125" baseline="-22222" dirty="0">
                <a:latin typeface="Cambria"/>
                <a:cs typeface="Cambria"/>
              </a:rPr>
              <a:t>0</a:t>
            </a:r>
            <a:r>
              <a:rPr sz="1100" dirty="0">
                <a:latin typeface="Cambria"/>
                <a:cs typeface="Cambria"/>
              </a:rPr>
              <a:t>))</a:t>
            </a:r>
            <a:r>
              <a:rPr sz="1100" dirty="0">
                <a:latin typeface="Tahoma"/>
                <a:cs typeface="Tahoma"/>
              </a:rPr>
              <a:t>:</a:t>
            </a:r>
            <a:r>
              <a:rPr sz="1100" spc="11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variance</a:t>
            </a:r>
            <a:r>
              <a:rPr sz="1100" spc="-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 </a:t>
            </a:r>
            <a:r>
              <a:rPr sz="1100" dirty="0">
                <a:latin typeface="Cambria"/>
                <a:cs typeface="Cambria"/>
              </a:rPr>
              <a:t>𝑓</a:t>
            </a:r>
            <a:r>
              <a:rPr sz="1100" spc="10" dirty="0">
                <a:latin typeface="Cambria"/>
                <a:cs typeface="Cambria"/>
              </a:rPr>
              <a:t> </a:t>
            </a:r>
            <a:r>
              <a:rPr sz="1650" baseline="15151" dirty="0">
                <a:latin typeface="Cambria"/>
                <a:cs typeface="Cambria"/>
              </a:rPr>
              <a:t>̂</a:t>
            </a:r>
            <a:r>
              <a:rPr sz="1100" dirty="0">
                <a:latin typeface="Cambria"/>
                <a:cs typeface="Cambria"/>
              </a:rPr>
              <a:t>(𝑥</a:t>
            </a:r>
            <a:r>
              <a:rPr sz="1125" baseline="-22222" dirty="0">
                <a:latin typeface="Cambria"/>
                <a:cs typeface="Cambria"/>
              </a:rPr>
              <a:t>0</a:t>
            </a:r>
            <a:r>
              <a:rPr sz="1100" dirty="0">
                <a:latin typeface="Cambria"/>
                <a:cs typeface="Cambria"/>
              </a:rPr>
              <a:t>)</a:t>
            </a:r>
            <a:r>
              <a:rPr sz="1100" spc="105" dirty="0">
                <a:latin typeface="Cambria"/>
                <a:cs typeface="Cambria"/>
              </a:rPr>
              <a:t> </a:t>
            </a:r>
            <a:r>
              <a:rPr sz="1100" spc="-10" dirty="0">
                <a:latin typeface="Tahoma"/>
                <a:cs typeface="Tahoma"/>
              </a:rPr>
              <a:t>(the</a:t>
            </a:r>
            <a:r>
              <a:rPr sz="1100" spc="-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variance</a:t>
            </a:r>
            <a:r>
              <a:rPr sz="1100" dirty="0">
                <a:latin typeface="Tahoma"/>
                <a:cs typeface="Tahoma"/>
              </a:rPr>
              <a:t> of</a:t>
            </a:r>
            <a:r>
              <a:rPr sz="1100" spc="-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predicted</a:t>
            </a:r>
            <a:r>
              <a:rPr sz="1100" spc="-5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response</a:t>
            </a:r>
            <a:r>
              <a:rPr sz="110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for</a:t>
            </a:r>
            <a:r>
              <a:rPr sz="1100" spc="-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test </a:t>
            </a:r>
            <a:r>
              <a:rPr sz="1100" spc="-40" dirty="0">
                <a:latin typeface="Tahoma"/>
                <a:cs typeface="Tahoma"/>
              </a:rPr>
              <a:t>observation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Cambria"/>
                <a:cs typeface="Cambria"/>
              </a:rPr>
              <a:t>𝑥</a:t>
            </a:r>
            <a:r>
              <a:rPr sz="1125" baseline="-22222" dirty="0">
                <a:latin typeface="Cambria"/>
                <a:cs typeface="Cambria"/>
              </a:rPr>
              <a:t>0</a:t>
            </a:r>
            <a:r>
              <a:rPr sz="1125" spc="315" baseline="-22222" dirty="0">
                <a:latin typeface="Cambria"/>
                <a:cs typeface="Cambria"/>
              </a:rPr>
              <a:t> </a:t>
            </a:r>
            <a:r>
              <a:rPr sz="1100" spc="-40" dirty="0">
                <a:latin typeface="Tahoma"/>
                <a:cs typeface="Tahoma"/>
              </a:rPr>
              <a:t>given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many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dirty="0">
                <a:latin typeface="Cambria"/>
                <a:cs typeface="Cambria"/>
              </a:rPr>
              <a:t>𝑓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650" baseline="15151" dirty="0">
                <a:latin typeface="Cambria"/>
                <a:cs typeface="Cambria"/>
              </a:rPr>
              <a:t>̂</a:t>
            </a:r>
            <a:r>
              <a:rPr sz="1650" spc="-89" baseline="15151" dirty="0">
                <a:latin typeface="Cambria"/>
                <a:cs typeface="Cambria"/>
              </a:rPr>
              <a:t> </a:t>
            </a:r>
            <a:r>
              <a:rPr sz="1100" dirty="0">
                <a:latin typeface="Tahoma"/>
                <a:cs typeface="Tahoma"/>
              </a:rPr>
              <a:t>fit</a:t>
            </a:r>
            <a:r>
              <a:rPr sz="1100" spc="-10" dirty="0">
                <a:latin typeface="Tahoma"/>
                <a:cs typeface="Tahoma"/>
              </a:rPr>
              <a:t> on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different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training</a:t>
            </a:r>
            <a:r>
              <a:rPr sz="1100" spc="-10" dirty="0">
                <a:latin typeface="Tahoma"/>
                <a:cs typeface="Tahoma"/>
              </a:rPr>
              <a:t> sets).</a:t>
            </a:r>
            <a:endParaRPr sz="1100" dirty="0">
              <a:latin typeface="Tahoma"/>
              <a:cs typeface="Tahom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068933" y="1941428"/>
            <a:ext cx="1934210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  <a:tabLst>
                <a:tab pos="1863725" algn="l"/>
              </a:tabLst>
            </a:pPr>
            <a:r>
              <a:rPr sz="750" spc="-50" dirty="0">
                <a:latin typeface="Cambria"/>
                <a:cs typeface="Cambria"/>
              </a:rPr>
              <a:t>0</a:t>
            </a:r>
            <a:r>
              <a:rPr sz="750" dirty="0">
                <a:latin typeface="Cambria"/>
                <a:cs typeface="Cambria"/>
              </a:rPr>
              <a:t>	</a:t>
            </a:r>
            <a:r>
              <a:rPr sz="750" spc="-50" dirty="0">
                <a:latin typeface="Cambria"/>
                <a:cs typeface="Cambria"/>
              </a:rPr>
              <a:t>0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362489" y="2003319"/>
            <a:ext cx="3114968" cy="184666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</a:pPr>
            <a:r>
              <a:rPr sz="1100" dirty="0">
                <a:latin typeface="Cambria"/>
                <a:cs typeface="Cambria"/>
              </a:rPr>
              <a:t>[</a:t>
            </a:r>
            <a:r>
              <a:rPr sz="1100" dirty="0">
                <a:latin typeface="Palatino Linotype"/>
                <a:cs typeface="Palatino Linotype"/>
              </a:rPr>
              <a:t>Bias</a:t>
            </a:r>
            <a:r>
              <a:rPr sz="1100" spc="-90" dirty="0">
                <a:latin typeface="Palatino Linotype"/>
                <a:cs typeface="Palatino Linotype"/>
              </a:rPr>
              <a:t> </a:t>
            </a:r>
            <a:r>
              <a:rPr sz="1100" spc="50" dirty="0">
                <a:latin typeface="Cambria"/>
                <a:cs typeface="Cambria"/>
              </a:rPr>
              <a:t>(𝑓</a:t>
            </a:r>
            <a:r>
              <a:rPr sz="1100" spc="30" dirty="0">
                <a:latin typeface="Cambria"/>
                <a:cs typeface="Cambria"/>
              </a:rPr>
              <a:t> </a:t>
            </a:r>
            <a:r>
              <a:rPr sz="1650" baseline="15151" dirty="0">
                <a:latin typeface="Cambria"/>
                <a:cs typeface="Cambria"/>
              </a:rPr>
              <a:t>̂</a:t>
            </a:r>
            <a:r>
              <a:rPr sz="1100" dirty="0">
                <a:latin typeface="Cambria"/>
                <a:cs typeface="Cambria"/>
              </a:rPr>
              <a:t>(𝑥</a:t>
            </a:r>
            <a:r>
              <a:rPr sz="1100" spc="260" dirty="0">
                <a:latin typeface="Cambria"/>
                <a:cs typeface="Cambria"/>
              </a:rPr>
              <a:t> </a:t>
            </a:r>
            <a:r>
              <a:rPr sz="1100" spc="55" dirty="0">
                <a:latin typeface="Cambria"/>
                <a:cs typeface="Cambria"/>
              </a:rPr>
              <a:t>))]</a:t>
            </a:r>
            <a:r>
              <a:rPr sz="1125" spc="82" baseline="66666" dirty="0">
                <a:latin typeface="Cambria"/>
                <a:cs typeface="Cambria"/>
              </a:rPr>
              <a:t>2</a:t>
            </a:r>
            <a:r>
              <a:rPr sz="1100" spc="55" dirty="0">
                <a:latin typeface="Tahoma"/>
                <a:cs typeface="Tahoma"/>
              </a:rPr>
              <a:t>:</a:t>
            </a:r>
            <a:r>
              <a:rPr sz="1100" spc="14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h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squared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bias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dirty="0">
                <a:latin typeface="Cambria"/>
                <a:cs typeface="Cambria"/>
              </a:rPr>
              <a:t>𝑓</a:t>
            </a:r>
            <a:r>
              <a:rPr sz="1100" spc="30" dirty="0">
                <a:latin typeface="Cambria"/>
                <a:cs typeface="Cambria"/>
              </a:rPr>
              <a:t> </a:t>
            </a:r>
            <a:r>
              <a:rPr sz="1650" baseline="15151" dirty="0">
                <a:latin typeface="Cambria"/>
                <a:cs typeface="Cambria"/>
              </a:rPr>
              <a:t>̂</a:t>
            </a:r>
            <a:r>
              <a:rPr sz="1100" dirty="0">
                <a:latin typeface="Cambria"/>
                <a:cs typeface="Cambria"/>
              </a:rPr>
              <a:t>(𝑥</a:t>
            </a:r>
            <a:r>
              <a:rPr sz="1100" spc="260" dirty="0">
                <a:latin typeface="Cambria"/>
                <a:cs typeface="Cambria"/>
              </a:rPr>
              <a:t> </a:t>
            </a:r>
            <a:r>
              <a:rPr sz="1100" spc="-25" dirty="0">
                <a:latin typeface="Cambria"/>
                <a:cs typeface="Cambria"/>
              </a:rPr>
              <a:t>)</a:t>
            </a:r>
            <a:r>
              <a:rPr sz="1100" spc="-25" dirty="0">
                <a:latin typeface="Tahoma"/>
                <a:cs typeface="Tahoma"/>
              </a:rPr>
              <a:t>.</a:t>
            </a:r>
            <a:endParaRPr sz="1100" dirty="0">
              <a:latin typeface="Tahoma"/>
              <a:cs typeface="Tahom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402321" y="2244982"/>
            <a:ext cx="3437014" cy="184666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dirty="0">
                <a:latin typeface="Palatino Linotype"/>
                <a:cs typeface="Palatino Linotype"/>
              </a:rPr>
              <a:t>Var</a:t>
            </a:r>
            <a:r>
              <a:rPr sz="1100" dirty="0">
                <a:latin typeface="Cambria"/>
                <a:cs typeface="Cambria"/>
              </a:rPr>
              <a:t>(𝜖)</a:t>
            </a:r>
            <a:r>
              <a:rPr sz="1100" dirty="0">
                <a:latin typeface="Tahoma"/>
                <a:cs typeface="Tahoma"/>
              </a:rPr>
              <a:t>: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variance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error</a:t>
            </a:r>
            <a:r>
              <a:rPr sz="1100" spc="-35" dirty="0">
                <a:latin typeface="Tahoma"/>
                <a:cs typeface="Tahoma"/>
              </a:rPr>
              <a:t> terms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25" dirty="0">
                <a:latin typeface="Cambria"/>
                <a:cs typeface="Cambria"/>
              </a:rPr>
              <a:t>𝜖</a:t>
            </a:r>
            <a:r>
              <a:rPr sz="1100" spc="-25" dirty="0">
                <a:latin typeface="Tahoma"/>
                <a:cs typeface="Tahoma"/>
              </a:rPr>
              <a:t>.</a:t>
            </a:r>
            <a:endParaRPr sz="1100" dirty="0">
              <a:latin typeface="Tahoma"/>
              <a:cs typeface="Tahoma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8" name="object 8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2" name="object 12"/>
          <p:cNvSpPr txBox="1"/>
          <p:nvPr/>
        </p:nvSpPr>
        <p:spPr>
          <a:xfrm>
            <a:off x="2194839" y="3106011"/>
            <a:ext cx="13703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6.1:</a:t>
            </a:r>
            <a:r>
              <a:rPr sz="600" spc="1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Introduction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to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Statistical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3" name="object 13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7465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20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3</a:t>
            </a:r>
          </a:p>
        </p:txBody>
      </p:sp>
    </p:spTree>
  </p:cSld>
  <p:clrMapOvr>
    <a:masterClrMapping/>
  </p:clrMapOvr>
  <p:transition>
    <p:cut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dirty="0"/>
              <a:t>The</a:t>
            </a:r>
            <a:r>
              <a:rPr spc="5" dirty="0"/>
              <a:t> </a:t>
            </a:r>
            <a:r>
              <a:rPr dirty="0"/>
              <a:t>Bias-</a:t>
            </a:r>
            <a:r>
              <a:rPr spc="-45" dirty="0"/>
              <a:t>Variance</a:t>
            </a:r>
            <a:r>
              <a:rPr dirty="0"/>
              <a:t> </a:t>
            </a:r>
            <a:r>
              <a:rPr spc="-45" dirty="0"/>
              <a:t>Trade-</a:t>
            </a:r>
            <a:r>
              <a:rPr spc="-25" dirty="0"/>
              <a:t>Off</a:t>
            </a:r>
          </a:p>
        </p:txBody>
      </p:sp>
      <p:sp>
        <p:nvSpPr>
          <p:cNvPr id="3" name="object 3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vert="horz" wrap="square" lIns="0" tIns="242963" rIns="0" bIns="0" rtlCol="0">
            <a:spAutoFit/>
          </a:bodyPr>
          <a:lstStyle/>
          <a:p>
            <a:pPr marL="50800" marR="65405">
              <a:lnSpc>
                <a:spcPct val="102600"/>
              </a:lnSpc>
              <a:spcBef>
                <a:spcPts val="55"/>
              </a:spcBef>
            </a:pPr>
            <a:r>
              <a:rPr spc="-65" dirty="0">
                <a:solidFill>
                  <a:srgbClr val="FF0000"/>
                </a:solidFill>
              </a:rPr>
              <a:t>In</a:t>
            </a:r>
            <a:r>
              <a:rPr spc="-25" dirty="0">
                <a:solidFill>
                  <a:srgbClr val="FF0000"/>
                </a:solidFill>
              </a:rPr>
              <a:t> </a:t>
            </a:r>
            <a:r>
              <a:rPr spc="-55" dirty="0">
                <a:solidFill>
                  <a:srgbClr val="FF0000"/>
                </a:solidFill>
              </a:rPr>
              <a:t>order</a:t>
            </a:r>
            <a:r>
              <a:rPr spc="-30" dirty="0">
                <a:solidFill>
                  <a:srgbClr val="FF0000"/>
                </a:solidFill>
              </a:rPr>
              <a:t> </a:t>
            </a:r>
            <a:r>
              <a:rPr dirty="0">
                <a:solidFill>
                  <a:srgbClr val="FF0000"/>
                </a:solidFill>
              </a:rPr>
              <a:t>to</a:t>
            </a:r>
            <a:r>
              <a:rPr spc="-65" dirty="0">
                <a:solidFill>
                  <a:srgbClr val="FF0000"/>
                </a:solidFill>
              </a:rPr>
              <a:t> </a:t>
            </a:r>
            <a:r>
              <a:rPr spc="-30" dirty="0">
                <a:solidFill>
                  <a:srgbClr val="FF0000"/>
                </a:solidFill>
              </a:rPr>
              <a:t>minimise</a:t>
            </a:r>
            <a:r>
              <a:rPr spc="-25" dirty="0">
                <a:solidFill>
                  <a:srgbClr val="FF0000"/>
                </a:solidFill>
              </a:rPr>
              <a:t> </a:t>
            </a:r>
            <a:r>
              <a:rPr spc="-10" dirty="0">
                <a:solidFill>
                  <a:srgbClr val="FF0000"/>
                </a:solidFill>
              </a:rPr>
              <a:t>the</a:t>
            </a:r>
            <a:r>
              <a:rPr spc="-25" dirty="0">
                <a:solidFill>
                  <a:srgbClr val="FF0000"/>
                </a:solidFill>
              </a:rPr>
              <a:t> </a:t>
            </a:r>
            <a:r>
              <a:rPr spc="-45" dirty="0">
                <a:solidFill>
                  <a:srgbClr val="FF0000"/>
                </a:solidFill>
              </a:rPr>
              <a:t>expected</a:t>
            </a:r>
            <a:r>
              <a:rPr spc="-25" dirty="0">
                <a:solidFill>
                  <a:srgbClr val="FF0000"/>
                </a:solidFill>
              </a:rPr>
              <a:t> </a:t>
            </a:r>
            <a:r>
              <a:rPr spc="-10" dirty="0">
                <a:solidFill>
                  <a:srgbClr val="FF0000"/>
                </a:solidFill>
              </a:rPr>
              <a:t>test</a:t>
            </a:r>
            <a:r>
              <a:rPr spc="-30" dirty="0">
                <a:solidFill>
                  <a:srgbClr val="FF0000"/>
                </a:solidFill>
              </a:rPr>
              <a:t> </a:t>
            </a:r>
            <a:r>
              <a:rPr spc="-50" dirty="0">
                <a:solidFill>
                  <a:srgbClr val="FF0000"/>
                </a:solidFill>
              </a:rPr>
              <a:t>error</a:t>
            </a:r>
            <a:r>
              <a:rPr spc="-25" dirty="0">
                <a:solidFill>
                  <a:srgbClr val="FF0000"/>
                </a:solidFill>
              </a:rPr>
              <a:t> </a:t>
            </a:r>
            <a:r>
              <a:rPr spc="-95" dirty="0">
                <a:solidFill>
                  <a:srgbClr val="FF0000"/>
                </a:solidFill>
              </a:rPr>
              <a:t>we</a:t>
            </a:r>
            <a:r>
              <a:rPr spc="10" dirty="0">
                <a:solidFill>
                  <a:srgbClr val="FF0000"/>
                </a:solidFill>
              </a:rPr>
              <a:t> </a:t>
            </a:r>
            <a:r>
              <a:rPr spc="-65" dirty="0">
                <a:solidFill>
                  <a:srgbClr val="FF0000"/>
                </a:solidFill>
              </a:rPr>
              <a:t>need</a:t>
            </a:r>
            <a:r>
              <a:rPr spc="-25" dirty="0">
                <a:solidFill>
                  <a:srgbClr val="FF0000"/>
                </a:solidFill>
              </a:rPr>
              <a:t> </a:t>
            </a:r>
            <a:r>
              <a:rPr dirty="0">
                <a:solidFill>
                  <a:srgbClr val="FF0000"/>
                </a:solidFill>
              </a:rPr>
              <a:t>to</a:t>
            </a:r>
            <a:r>
              <a:rPr spc="-25" dirty="0">
                <a:solidFill>
                  <a:srgbClr val="FF0000"/>
                </a:solidFill>
              </a:rPr>
              <a:t> </a:t>
            </a:r>
            <a:r>
              <a:rPr spc="-60" dirty="0">
                <a:solidFill>
                  <a:srgbClr val="FF0000"/>
                </a:solidFill>
              </a:rPr>
              <a:t>use</a:t>
            </a:r>
            <a:r>
              <a:rPr spc="-25" dirty="0">
                <a:solidFill>
                  <a:srgbClr val="FF0000"/>
                </a:solidFill>
              </a:rPr>
              <a:t> </a:t>
            </a:r>
            <a:r>
              <a:rPr spc="-10" dirty="0">
                <a:solidFill>
                  <a:srgbClr val="FF0000"/>
                </a:solidFill>
              </a:rPr>
              <a:t>statistical</a:t>
            </a:r>
            <a:r>
              <a:rPr spc="-25" dirty="0">
                <a:solidFill>
                  <a:srgbClr val="FF0000"/>
                </a:solidFill>
              </a:rPr>
              <a:t> </a:t>
            </a:r>
            <a:r>
              <a:rPr spc="-40" dirty="0">
                <a:solidFill>
                  <a:srgbClr val="FF0000"/>
                </a:solidFill>
              </a:rPr>
              <a:t>learning</a:t>
            </a:r>
            <a:r>
              <a:rPr spc="-30" dirty="0">
                <a:solidFill>
                  <a:srgbClr val="FF0000"/>
                </a:solidFill>
              </a:rPr>
              <a:t> </a:t>
            </a:r>
            <a:r>
              <a:rPr spc="-40" dirty="0">
                <a:solidFill>
                  <a:srgbClr val="FF0000"/>
                </a:solidFill>
              </a:rPr>
              <a:t>methods</a:t>
            </a:r>
            <a:r>
              <a:rPr spc="-25" dirty="0">
                <a:solidFill>
                  <a:srgbClr val="FF0000"/>
                </a:solidFill>
              </a:rPr>
              <a:t> </a:t>
            </a:r>
            <a:r>
              <a:rPr spc="-20" dirty="0">
                <a:solidFill>
                  <a:srgbClr val="FF0000"/>
                </a:solidFill>
              </a:rPr>
              <a:t>that </a:t>
            </a:r>
            <a:r>
              <a:rPr spc="-25" dirty="0">
                <a:solidFill>
                  <a:srgbClr val="FF0000"/>
                </a:solidFill>
              </a:rPr>
              <a:t>result</a:t>
            </a:r>
            <a:r>
              <a:rPr spc="-40" dirty="0">
                <a:solidFill>
                  <a:srgbClr val="FF0000"/>
                </a:solidFill>
              </a:rPr>
              <a:t> </a:t>
            </a:r>
            <a:r>
              <a:rPr dirty="0">
                <a:solidFill>
                  <a:srgbClr val="FF0000"/>
                </a:solidFill>
              </a:rPr>
              <a:t>in</a:t>
            </a:r>
            <a:r>
              <a:rPr spc="-40" dirty="0">
                <a:solidFill>
                  <a:srgbClr val="FF0000"/>
                </a:solidFill>
              </a:rPr>
              <a:t> </a:t>
            </a:r>
            <a:r>
              <a:rPr spc="-35" dirty="0">
                <a:solidFill>
                  <a:srgbClr val="FF0000"/>
                </a:solidFill>
              </a:rPr>
              <a:t>low</a:t>
            </a:r>
            <a:r>
              <a:rPr spc="-40" dirty="0">
                <a:solidFill>
                  <a:srgbClr val="FF0000"/>
                </a:solidFill>
              </a:rPr>
              <a:t> </a:t>
            </a:r>
            <a:r>
              <a:rPr spc="-25" dirty="0">
                <a:solidFill>
                  <a:srgbClr val="FF0000"/>
                </a:solidFill>
              </a:rPr>
              <a:t>bias</a:t>
            </a:r>
            <a:r>
              <a:rPr spc="-40" dirty="0">
                <a:solidFill>
                  <a:srgbClr val="FF0000"/>
                </a:solidFill>
              </a:rPr>
              <a:t> </a:t>
            </a:r>
            <a:r>
              <a:rPr i="1" dirty="0">
                <a:solidFill>
                  <a:srgbClr val="FF0000"/>
                </a:solidFill>
                <a:latin typeface="Calibri"/>
                <a:cs typeface="Calibri"/>
              </a:rPr>
              <a:t>and</a:t>
            </a:r>
            <a:r>
              <a:rPr i="1" spc="120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pc="-35" dirty="0">
                <a:solidFill>
                  <a:srgbClr val="FF0000"/>
                </a:solidFill>
              </a:rPr>
              <a:t>low</a:t>
            </a:r>
            <a:r>
              <a:rPr spc="-40" dirty="0">
                <a:solidFill>
                  <a:srgbClr val="FF0000"/>
                </a:solidFill>
              </a:rPr>
              <a:t> </a:t>
            </a:r>
            <a:r>
              <a:rPr spc="-10" dirty="0">
                <a:solidFill>
                  <a:srgbClr val="FF0000"/>
                </a:solidFill>
              </a:rPr>
              <a:t>variance.</a:t>
            </a:r>
          </a:p>
          <a:p>
            <a:pPr marL="327660">
              <a:lnSpc>
                <a:spcPts val="1310"/>
              </a:lnSpc>
              <a:spcBef>
                <a:spcPts val="710"/>
              </a:spcBef>
            </a:pPr>
            <a:r>
              <a:rPr spc="-155" dirty="0">
                <a:latin typeface="Arial Black"/>
                <a:cs typeface="Arial Black"/>
              </a:rPr>
              <a:t>Variance</a:t>
            </a:r>
            <a:r>
              <a:rPr spc="-5" dirty="0">
                <a:latin typeface="Arial Black"/>
                <a:cs typeface="Arial Black"/>
              </a:rPr>
              <a:t> </a:t>
            </a:r>
            <a:r>
              <a:rPr dirty="0"/>
              <a:t>is</a:t>
            </a:r>
            <a:r>
              <a:rPr spc="-75" dirty="0"/>
              <a:t> </a:t>
            </a:r>
            <a:r>
              <a:rPr spc="-10" dirty="0"/>
              <a:t>the</a:t>
            </a:r>
            <a:r>
              <a:rPr spc="-15" dirty="0"/>
              <a:t> </a:t>
            </a:r>
            <a:r>
              <a:rPr spc="-35" dirty="0"/>
              <a:t>amount</a:t>
            </a:r>
            <a:r>
              <a:rPr spc="-10" dirty="0"/>
              <a:t> </a:t>
            </a:r>
            <a:r>
              <a:rPr dirty="0">
                <a:latin typeface="Cambria"/>
                <a:cs typeface="Cambria"/>
              </a:rPr>
              <a:t>𝑓</a:t>
            </a:r>
            <a:r>
              <a:rPr spc="5" dirty="0">
                <a:latin typeface="Cambria"/>
                <a:cs typeface="Cambria"/>
              </a:rPr>
              <a:t> </a:t>
            </a:r>
            <a:r>
              <a:rPr sz="1650" baseline="15151" dirty="0">
                <a:latin typeface="Cambria"/>
                <a:cs typeface="Cambria"/>
              </a:rPr>
              <a:t>̂</a:t>
            </a:r>
            <a:r>
              <a:rPr sz="1650" spc="-89" baseline="15151" dirty="0">
                <a:latin typeface="Cambria"/>
                <a:cs typeface="Cambria"/>
              </a:rPr>
              <a:t> </a:t>
            </a:r>
            <a:r>
              <a:rPr sz="1100" spc="-40" dirty="0"/>
              <a:t>would</a:t>
            </a:r>
            <a:r>
              <a:rPr sz="1100" spc="-15" dirty="0"/>
              <a:t> </a:t>
            </a:r>
            <a:r>
              <a:rPr sz="1100" spc="-50" dirty="0"/>
              <a:t>change</a:t>
            </a:r>
            <a:r>
              <a:rPr sz="1100" spc="-15" dirty="0"/>
              <a:t> </a:t>
            </a:r>
            <a:r>
              <a:rPr sz="1100" dirty="0"/>
              <a:t>if</a:t>
            </a:r>
            <a:r>
              <a:rPr sz="1100" spc="-15" dirty="0"/>
              <a:t> </a:t>
            </a:r>
            <a:r>
              <a:rPr sz="1100" spc="-95" dirty="0"/>
              <a:t>we</a:t>
            </a:r>
            <a:r>
              <a:rPr sz="1100" spc="5" dirty="0"/>
              <a:t> </a:t>
            </a:r>
            <a:r>
              <a:rPr sz="1100" dirty="0"/>
              <a:t>fit</a:t>
            </a:r>
            <a:r>
              <a:rPr sz="1100" spc="-15" dirty="0"/>
              <a:t> </a:t>
            </a:r>
            <a:r>
              <a:rPr sz="1100" dirty="0"/>
              <a:t>it</a:t>
            </a:r>
            <a:r>
              <a:rPr sz="1100" spc="-10" dirty="0"/>
              <a:t> </a:t>
            </a:r>
            <a:r>
              <a:rPr sz="1100" spc="-35" dirty="0"/>
              <a:t>using</a:t>
            </a:r>
            <a:r>
              <a:rPr sz="1100" spc="-15" dirty="0"/>
              <a:t> </a:t>
            </a:r>
            <a:r>
              <a:rPr sz="1100" dirty="0"/>
              <a:t>a</a:t>
            </a:r>
            <a:r>
              <a:rPr sz="1100" spc="-15" dirty="0"/>
              <a:t> </a:t>
            </a:r>
            <a:r>
              <a:rPr sz="1100" spc="-35" dirty="0"/>
              <a:t>different</a:t>
            </a:r>
            <a:r>
              <a:rPr sz="1100" spc="-15" dirty="0"/>
              <a:t> </a:t>
            </a:r>
            <a:r>
              <a:rPr sz="1100" spc="-20" dirty="0"/>
              <a:t>training</a:t>
            </a:r>
            <a:r>
              <a:rPr sz="1100" spc="-15" dirty="0"/>
              <a:t> </a:t>
            </a:r>
            <a:r>
              <a:rPr sz="1100" spc="-20" dirty="0"/>
              <a:t>set.</a:t>
            </a:r>
            <a:endParaRPr sz="1100" dirty="0">
              <a:latin typeface="Cambria"/>
              <a:cs typeface="Cambria"/>
            </a:endParaRPr>
          </a:p>
          <a:p>
            <a:pPr marL="604520">
              <a:lnSpc>
                <a:spcPts val="1190"/>
              </a:lnSpc>
            </a:pPr>
            <a:r>
              <a:rPr sz="1000" dirty="0"/>
              <a:t>More</a:t>
            </a:r>
            <a:r>
              <a:rPr sz="1000" spc="-25" dirty="0"/>
              <a:t> flexible </a:t>
            </a:r>
            <a:r>
              <a:rPr sz="1000" spc="-35" dirty="0"/>
              <a:t>models</a:t>
            </a:r>
            <a:r>
              <a:rPr sz="1000" spc="-25" dirty="0"/>
              <a:t> </a:t>
            </a:r>
            <a:r>
              <a:rPr sz="1000" spc="-50" dirty="0"/>
              <a:t>have</a:t>
            </a:r>
            <a:r>
              <a:rPr sz="1000" spc="-25" dirty="0"/>
              <a:t> </a:t>
            </a:r>
            <a:r>
              <a:rPr sz="1000" spc="-35" dirty="0"/>
              <a:t>higher</a:t>
            </a:r>
            <a:r>
              <a:rPr sz="1000" spc="-25" dirty="0"/>
              <a:t> </a:t>
            </a:r>
            <a:r>
              <a:rPr sz="1000" spc="-40" dirty="0"/>
              <a:t>variance</a:t>
            </a:r>
            <a:r>
              <a:rPr sz="1000" spc="-25" dirty="0"/>
              <a:t> </a:t>
            </a:r>
            <a:r>
              <a:rPr sz="1000" spc="-35" dirty="0"/>
              <a:t>since</a:t>
            </a:r>
            <a:r>
              <a:rPr sz="1000" spc="-20" dirty="0"/>
              <a:t> </a:t>
            </a:r>
            <a:r>
              <a:rPr sz="1000" spc="-25" dirty="0"/>
              <a:t>they </a:t>
            </a:r>
            <a:r>
              <a:rPr sz="1000" dirty="0"/>
              <a:t>fit</a:t>
            </a:r>
            <a:r>
              <a:rPr sz="1000" spc="-25" dirty="0"/>
              <a:t> </a:t>
            </a:r>
            <a:r>
              <a:rPr sz="1000" spc="-20" dirty="0"/>
              <a:t>the</a:t>
            </a:r>
            <a:r>
              <a:rPr sz="1000" spc="-25" dirty="0"/>
              <a:t> </a:t>
            </a:r>
            <a:r>
              <a:rPr sz="1000" spc="-20" dirty="0"/>
              <a:t>training</a:t>
            </a:r>
            <a:r>
              <a:rPr sz="1000" spc="-25" dirty="0"/>
              <a:t> </a:t>
            </a:r>
            <a:r>
              <a:rPr sz="1000" spc="-10" dirty="0"/>
              <a:t>data</a:t>
            </a:r>
            <a:r>
              <a:rPr sz="1000" spc="-25" dirty="0"/>
              <a:t> </a:t>
            </a:r>
            <a:r>
              <a:rPr sz="1000" spc="-50" dirty="0"/>
              <a:t>more</a:t>
            </a:r>
            <a:r>
              <a:rPr sz="1000" spc="-25" dirty="0"/>
              <a:t> </a:t>
            </a:r>
            <a:r>
              <a:rPr sz="1000" spc="-10" dirty="0"/>
              <a:t>closely.</a:t>
            </a:r>
            <a:endParaRPr sz="1000" dirty="0"/>
          </a:p>
          <a:p>
            <a:pPr marL="327660">
              <a:lnSpc>
                <a:spcPts val="1310"/>
              </a:lnSpc>
              <a:spcBef>
                <a:spcPts val="55"/>
              </a:spcBef>
            </a:pPr>
            <a:r>
              <a:rPr spc="-140" dirty="0">
                <a:latin typeface="Arial Black"/>
                <a:cs typeface="Arial Black"/>
              </a:rPr>
              <a:t>Bias</a:t>
            </a:r>
            <a:r>
              <a:rPr spc="-5" dirty="0">
                <a:latin typeface="Arial Black"/>
                <a:cs typeface="Arial Black"/>
              </a:rPr>
              <a:t> </a:t>
            </a:r>
            <a:r>
              <a:rPr dirty="0"/>
              <a:t>is</a:t>
            </a:r>
            <a:r>
              <a:rPr spc="-65" dirty="0"/>
              <a:t> </a:t>
            </a:r>
            <a:r>
              <a:rPr spc="-10" dirty="0"/>
              <a:t>the</a:t>
            </a:r>
            <a:r>
              <a:rPr spc="-25" dirty="0"/>
              <a:t> </a:t>
            </a:r>
            <a:r>
              <a:rPr spc="-50" dirty="0"/>
              <a:t>error</a:t>
            </a:r>
            <a:r>
              <a:rPr spc="-20" dirty="0"/>
              <a:t> from</a:t>
            </a:r>
            <a:r>
              <a:rPr spc="-25" dirty="0"/>
              <a:t> </a:t>
            </a:r>
            <a:r>
              <a:rPr spc="-45" dirty="0"/>
              <a:t>approximating</a:t>
            </a:r>
            <a:r>
              <a:rPr spc="-25" dirty="0"/>
              <a:t> </a:t>
            </a:r>
            <a:r>
              <a:rPr dirty="0"/>
              <a:t>a</a:t>
            </a:r>
            <a:r>
              <a:rPr spc="-20" dirty="0"/>
              <a:t> </a:t>
            </a:r>
            <a:r>
              <a:rPr spc="-35" dirty="0"/>
              <a:t>complicated</a:t>
            </a:r>
            <a:r>
              <a:rPr spc="-25" dirty="0"/>
              <a:t> </a:t>
            </a:r>
            <a:r>
              <a:rPr spc="-30" dirty="0"/>
              <a:t>relationship</a:t>
            </a:r>
            <a:r>
              <a:rPr spc="-25" dirty="0"/>
              <a:t> </a:t>
            </a:r>
            <a:r>
              <a:rPr dirty="0"/>
              <a:t>with</a:t>
            </a:r>
            <a:r>
              <a:rPr spc="-25" dirty="0"/>
              <a:t> </a:t>
            </a:r>
            <a:r>
              <a:rPr dirty="0"/>
              <a:t>a</a:t>
            </a:r>
            <a:r>
              <a:rPr spc="-20" dirty="0"/>
              <a:t> </a:t>
            </a:r>
            <a:r>
              <a:rPr spc="-35" dirty="0"/>
              <a:t>simpler</a:t>
            </a:r>
            <a:r>
              <a:rPr spc="-25" dirty="0"/>
              <a:t> </a:t>
            </a:r>
            <a:r>
              <a:rPr spc="-10" dirty="0"/>
              <a:t>model.</a:t>
            </a:r>
          </a:p>
          <a:p>
            <a:pPr marL="604520" marR="17780">
              <a:lnSpc>
                <a:spcPts val="1200"/>
              </a:lnSpc>
              <a:spcBef>
                <a:spcPts val="30"/>
              </a:spcBef>
            </a:pPr>
            <a:r>
              <a:rPr sz="1000" dirty="0"/>
              <a:t>More</a:t>
            </a:r>
            <a:r>
              <a:rPr sz="1000" spc="-35" dirty="0"/>
              <a:t> </a:t>
            </a:r>
            <a:r>
              <a:rPr sz="1000" spc="-25" dirty="0"/>
              <a:t>restrictive</a:t>
            </a:r>
            <a:r>
              <a:rPr sz="1000" spc="-30" dirty="0"/>
              <a:t> </a:t>
            </a:r>
            <a:r>
              <a:rPr sz="1000" spc="-35" dirty="0"/>
              <a:t>models</a:t>
            </a:r>
            <a:r>
              <a:rPr sz="1000" spc="-30" dirty="0"/>
              <a:t> </a:t>
            </a:r>
            <a:r>
              <a:rPr sz="1000" spc="-50" dirty="0"/>
              <a:t>have</a:t>
            </a:r>
            <a:r>
              <a:rPr sz="1000" spc="-25" dirty="0"/>
              <a:t> </a:t>
            </a:r>
            <a:r>
              <a:rPr sz="1000" spc="-35" dirty="0"/>
              <a:t>higher</a:t>
            </a:r>
            <a:r>
              <a:rPr sz="1000" spc="-30" dirty="0"/>
              <a:t> </a:t>
            </a:r>
            <a:r>
              <a:rPr sz="1000" spc="-20" dirty="0"/>
              <a:t>bias</a:t>
            </a:r>
            <a:r>
              <a:rPr sz="1000" spc="-30" dirty="0"/>
              <a:t> </a:t>
            </a:r>
            <a:r>
              <a:rPr sz="1000" spc="-35" dirty="0"/>
              <a:t>since</a:t>
            </a:r>
            <a:r>
              <a:rPr sz="1000" spc="-30" dirty="0"/>
              <a:t> </a:t>
            </a:r>
            <a:r>
              <a:rPr sz="1000" spc="-25" dirty="0"/>
              <a:t>they</a:t>
            </a:r>
            <a:r>
              <a:rPr sz="1000" spc="-30" dirty="0"/>
              <a:t> </a:t>
            </a:r>
            <a:r>
              <a:rPr sz="1000" spc="-50" dirty="0"/>
              <a:t>make</a:t>
            </a:r>
            <a:r>
              <a:rPr sz="1000" spc="-30" dirty="0"/>
              <a:t> </a:t>
            </a:r>
            <a:r>
              <a:rPr sz="1000" spc="-50" dirty="0"/>
              <a:t>more</a:t>
            </a:r>
            <a:r>
              <a:rPr sz="1000" spc="-25" dirty="0"/>
              <a:t> </a:t>
            </a:r>
            <a:r>
              <a:rPr sz="1000" spc="-40" dirty="0"/>
              <a:t>assumptions</a:t>
            </a:r>
            <a:r>
              <a:rPr sz="1000" spc="-30" dirty="0"/>
              <a:t> </a:t>
            </a:r>
            <a:r>
              <a:rPr sz="1000" spc="-10" dirty="0"/>
              <a:t>about</a:t>
            </a:r>
            <a:r>
              <a:rPr sz="1000" spc="-30" dirty="0"/>
              <a:t> </a:t>
            </a:r>
            <a:r>
              <a:rPr sz="1000" spc="-20" dirty="0"/>
              <a:t>the</a:t>
            </a:r>
            <a:r>
              <a:rPr sz="1000" spc="-30" dirty="0"/>
              <a:t> </a:t>
            </a:r>
            <a:r>
              <a:rPr sz="1000" spc="-20" dirty="0"/>
              <a:t>form </a:t>
            </a:r>
            <a:r>
              <a:rPr sz="1000" dirty="0"/>
              <a:t>of</a:t>
            </a:r>
            <a:r>
              <a:rPr sz="1000" spc="-35" dirty="0"/>
              <a:t> </a:t>
            </a:r>
            <a:r>
              <a:rPr sz="1000" spc="-55" dirty="0">
                <a:latin typeface="Cambria"/>
                <a:cs typeface="Cambria"/>
              </a:rPr>
              <a:t>𝑓</a:t>
            </a:r>
            <a:r>
              <a:rPr sz="1000" spc="-130" dirty="0">
                <a:latin typeface="Cambria"/>
                <a:cs typeface="Cambria"/>
              </a:rPr>
              <a:t> </a:t>
            </a:r>
            <a:r>
              <a:rPr sz="1000" spc="-50" dirty="0"/>
              <a:t>.</a:t>
            </a:r>
            <a:endParaRPr sz="1000" dirty="0">
              <a:latin typeface="Cambria"/>
              <a:cs typeface="Cambria"/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5" name="object 5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209032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9" name="object 9"/>
          <p:cNvSpPr txBox="1"/>
          <p:nvPr/>
        </p:nvSpPr>
        <p:spPr>
          <a:xfrm>
            <a:off x="2194839" y="3106011"/>
            <a:ext cx="13703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6.1:</a:t>
            </a:r>
            <a:r>
              <a:rPr sz="600" spc="1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Introduction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to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Statistical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0" name="object 10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7465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21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3</a:t>
            </a:r>
          </a:p>
        </p:txBody>
      </p:sp>
    </p:spTree>
  </p:cSld>
  <p:clrMapOvr>
    <a:masterClrMapping/>
  </p:clrMapOvr>
  <p:transition>
    <p:cut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dirty="0"/>
              <a:t>The</a:t>
            </a:r>
            <a:r>
              <a:rPr spc="5" dirty="0"/>
              <a:t> </a:t>
            </a:r>
            <a:r>
              <a:rPr dirty="0"/>
              <a:t>Bias-</a:t>
            </a:r>
            <a:r>
              <a:rPr spc="-45" dirty="0"/>
              <a:t>Variance</a:t>
            </a:r>
            <a:r>
              <a:rPr dirty="0"/>
              <a:t> </a:t>
            </a:r>
            <a:r>
              <a:rPr spc="-45" dirty="0"/>
              <a:t>Trade-</a:t>
            </a:r>
            <a:r>
              <a:rPr spc="-25" dirty="0"/>
              <a:t>Off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25844" y="843773"/>
            <a:ext cx="5459730" cy="1591310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 marR="5080">
              <a:lnSpc>
                <a:spcPct val="102600"/>
              </a:lnSpc>
              <a:spcBef>
                <a:spcPts val="55"/>
              </a:spcBef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rat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chang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bia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versu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varianc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determine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whether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est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MS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will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decrease </a:t>
            </a:r>
            <a:r>
              <a:rPr sz="1100" spc="-20" dirty="0">
                <a:latin typeface="Tahoma"/>
                <a:cs typeface="Tahoma"/>
              </a:rPr>
              <a:t>or</a:t>
            </a:r>
            <a:r>
              <a:rPr sz="1100" spc="-6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increase </a:t>
            </a:r>
            <a:r>
              <a:rPr sz="1100" dirty="0">
                <a:latin typeface="Tahoma"/>
                <a:cs typeface="Tahoma"/>
              </a:rPr>
              <a:t>with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flexibility.</a:t>
            </a:r>
            <a:endParaRPr sz="1100">
              <a:latin typeface="Tahoma"/>
              <a:cs typeface="Tahoma"/>
            </a:endParaRPr>
          </a:p>
          <a:p>
            <a:pPr marL="289560" marR="305435">
              <a:lnSpc>
                <a:spcPct val="102600"/>
              </a:lnSpc>
              <a:spcBef>
                <a:spcPts val="680"/>
              </a:spcBef>
            </a:pPr>
            <a:r>
              <a:rPr sz="1100" spc="-30" dirty="0">
                <a:latin typeface="Tahoma"/>
                <a:cs typeface="Tahoma"/>
              </a:rPr>
              <a:t>Initially,</a:t>
            </a:r>
            <a:r>
              <a:rPr sz="1100" spc="-6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as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flexibility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method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increases,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bias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decreases</a:t>
            </a:r>
            <a:r>
              <a:rPr sz="1100" spc="-30" dirty="0">
                <a:latin typeface="Tahoma"/>
                <a:cs typeface="Tahoma"/>
              </a:rPr>
              <a:t> faster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an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the </a:t>
            </a:r>
            <a:r>
              <a:rPr sz="1100" spc="-40" dirty="0">
                <a:latin typeface="Tahoma"/>
                <a:cs typeface="Tahoma"/>
              </a:rPr>
              <a:t>varianc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increases.</a:t>
            </a:r>
            <a:endParaRPr sz="1100">
              <a:latin typeface="Tahoma"/>
              <a:cs typeface="Tahoma"/>
            </a:endParaRPr>
          </a:p>
          <a:p>
            <a:pPr marL="566420">
              <a:lnSpc>
                <a:spcPts val="1175"/>
              </a:lnSpc>
            </a:pPr>
            <a:r>
              <a:rPr sz="1000" spc="155" dirty="0">
                <a:latin typeface="Cambria"/>
                <a:cs typeface="Cambria"/>
              </a:rPr>
              <a:t>⇒</a:t>
            </a:r>
            <a:r>
              <a:rPr sz="1000" spc="110" dirty="0">
                <a:latin typeface="Cambria"/>
                <a:cs typeface="Cambria"/>
              </a:rPr>
              <a:t> </a:t>
            </a:r>
            <a:r>
              <a:rPr sz="1000" spc="-20" dirty="0">
                <a:latin typeface="Tahoma"/>
                <a:cs typeface="Tahoma"/>
              </a:rPr>
              <a:t>the</a:t>
            </a:r>
            <a:r>
              <a:rPr sz="1000" spc="10" dirty="0">
                <a:latin typeface="Tahoma"/>
                <a:cs typeface="Tahoma"/>
              </a:rPr>
              <a:t> </a:t>
            </a:r>
            <a:r>
              <a:rPr sz="1000" spc="-10" dirty="0">
                <a:latin typeface="Tahoma"/>
                <a:cs typeface="Tahoma"/>
              </a:rPr>
              <a:t>test</a:t>
            </a:r>
            <a:r>
              <a:rPr sz="1000" spc="10" dirty="0">
                <a:latin typeface="Tahoma"/>
                <a:cs typeface="Tahoma"/>
              </a:rPr>
              <a:t> </a:t>
            </a:r>
            <a:r>
              <a:rPr sz="1000" dirty="0">
                <a:latin typeface="Tahoma"/>
                <a:cs typeface="Tahoma"/>
              </a:rPr>
              <a:t>MSE</a:t>
            </a:r>
            <a:r>
              <a:rPr sz="1000" spc="10" dirty="0">
                <a:latin typeface="Tahoma"/>
                <a:cs typeface="Tahoma"/>
              </a:rPr>
              <a:t> </a:t>
            </a:r>
            <a:r>
              <a:rPr sz="1000" spc="-10" dirty="0">
                <a:latin typeface="Tahoma"/>
                <a:cs typeface="Tahoma"/>
              </a:rPr>
              <a:t>declines.</a:t>
            </a:r>
            <a:endParaRPr sz="1000">
              <a:latin typeface="Tahoma"/>
              <a:cs typeface="Tahoma"/>
            </a:endParaRPr>
          </a:p>
          <a:p>
            <a:pPr marL="289560" marR="280035">
              <a:lnSpc>
                <a:spcPct val="102600"/>
              </a:lnSpc>
              <a:spcBef>
                <a:spcPts val="20"/>
              </a:spcBef>
            </a:pPr>
            <a:r>
              <a:rPr sz="1100" dirty="0">
                <a:latin typeface="Tahoma"/>
                <a:cs typeface="Tahoma"/>
              </a:rPr>
              <a:t>At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som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point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increasing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flexibility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ha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littl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impact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on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bia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but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variance </a:t>
            </a:r>
            <a:r>
              <a:rPr sz="1100" spc="-50" dirty="0">
                <a:latin typeface="Tahoma"/>
                <a:cs typeface="Tahoma"/>
              </a:rPr>
              <a:t>increase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significantly.</a:t>
            </a:r>
            <a:endParaRPr sz="1100">
              <a:latin typeface="Tahoma"/>
              <a:cs typeface="Tahoma"/>
            </a:endParaRPr>
          </a:p>
          <a:p>
            <a:pPr marL="566420" marR="306070">
              <a:lnSpc>
                <a:spcPts val="1200"/>
              </a:lnSpc>
              <a:spcBef>
                <a:spcPts val="15"/>
              </a:spcBef>
            </a:pPr>
            <a:r>
              <a:rPr sz="1000" spc="155" dirty="0">
                <a:latin typeface="Cambria"/>
                <a:cs typeface="Cambria"/>
              </a:rPr>
              <a:t>⇒</a:t>
            </a:r>
            <a:r>
              <a:rPr sz="1000" spc="85" dirty="0">
                <a:latin typeface="Cambria"/>
                <a:cs typeface="Cambria"/>
              </a:rPr>
              <a:t> </a:t>
            </a:r>
            <a:r>
              <a:rPr sz="1000" dirty="0">
                <a:latin typeface="Tahoma"/>
                <a:cs typeface="Tahoma"/>
              </a:rPr>
              <a:t>The</a:t>
            </a:r>
            <a:r>
              <a:rPr sz="1000" spc="-15" dirty="0">
                <a:latin typeface="Tahoma"/>
                <a:cs typeface="Tahoma"/>
              </a:rPr>
              <a:t> </a:t>
            </a:r>
            <a:r>
              <a:rPr sz="1000" spc="-10" dirty="0">
                <a:latin typeface="Tahoma"/>
                <a:cs typeface="Tahoma"/>
              </a:rPr>
              <a:t>test </a:t>
            </a:r>
            <a:r>
              <a:rPr sz="1000" dirty="0">
                <a:latin typeface="Tahoma"/>
                <a:cs typeface="Tahoma"/>
              </a:rPr>
              <a:t>MSE</a:t>
            </a:r>
            <a:r>
              <a:rPr sz="1000" spc="-10" dirty="0">
                <a:latin typeface="Tahoma"/>
                <a:cs typeface="Tahoma"/>
              </a:rPr>
              <a:t> </a:t>
            </a:r>
            <a:r>
              <a:rPr sz="1000" spc="-40" dirty="0">
                <a:latin typeface="Tahoma"/>
                <a:cs typeface="Tahoma"/>
              </a:rPr>
              <a:t>increases.</a:t>
            </a:r>
            <a:r>
              <a:rPr sz="1000" spc="85" dirty="0">
                <a:latin typeface="Tahoma"/>
                <a:cs typeface="Tahoma"/>
              </a:rPr>
              <a:t> </a:t>
            </a:r>
            <a:r>
              <a:rPr sz="1000" spc="-10" dirty="0">
                <a:latin typeface="Tahoma"/>
                <a:cs typeface="Tahoma"/>
              </a:rPr>
              <a:t>-</a:t>
            </a:r>
            <a:r>
              <a:rPr sz="1000" dirty="0">
                <a:latin typeface="Tahoma"/>
                <a:cs typeface="Tahoma"/>
              </a:rPr>
              <a:t>This</a:t>
            </a:r>
            <a:r>
              <a:rPr sz="1000" spc="-10" dirty="0">
                <a:latin typeface="Tahoma"/>
                <a:cs typeface="Tahoma"/>
              </a:rPr>
              <a:t> </a:t>
            </a:r>
            <a:r>
              <a:rPr sz="1000" spc="-30" dirty="0">
                <a:latin typeface="Tahoma"/>
                <a:cs typeface="Tahoma"/>
              </a:rPr>
              <a:t>results</a:t>
            </a:r>
            <a:r>
              <a:rPr sz="1000" spc="-10" dirty="0">
                <a:latin typeface="Tahoma"/>
                <a:cs typeface="Tahoma"/>
              </a:rPr>
              <a:t> </a:t>
            </a:r>
            <a:r>
              <a:rPr sz="1000" dirty="0">
                <a:latin typeface="Tahoma"/>
                <a:cs typeface="Tahoma"/>
              </a:rPr>
              <a:t>in</a:t>
            </a:r>
            <a:r>
              <a:rPr sz="1000" spc="-15" dirty="0">
                <a:latin typeface="Tahoma"/>
                <a:cs typeface="Tahoma"/>
              </a:rPr>
              <a:t> </a:t>
            </a:r>
            <a:r>
              <a:rPr sz="1000" dirty="0">
                <a:latin typeface="Tahoma"/>
                <a:cs typeface="Tahoma"/>
              </a:rPr>
              <a:t>a</a:t>
            </a:r>
            <a:r>
              <a:rPr sz="1000" spc="-10" dirty="0">
                <a:latin typeface="Tahoma"/>
                <a:cs typeface="Tahoma"/>
              </a:rPr>
              <a:t> </a:t>
            </a:r>
            <a:r>
              <a:rPr sz="1000" spc="-45" dirty="0">
                <a:latin typeface="Tahoma"/>
                <a:cs typeface="Tahoma"/>
              </a:rPr>
              <a:t>U-</a:t>
            </a:r>
            <a:r>
              <a:rPr sz="1000" spc="-30" dirty="0">
                <a:latin typeface="Tahoma"/>
                <a:cs typeface="Tahoma"/>
              </a:rPr>
              <a:t>shaped</a:t>
            </a:r>
            <a:r>
              <a:rPr sz="1000" spc="-15" dirty="0">
                <a:latin typeface="Tahoma"/>
                <a:cs typeface="Tahoma"/>
              </a:rPr>
              <a:t> </a:t>
            </a:r>
            <a:r>
              <a:rPr sz="1000" spc="-40" dirty="0">
                <a:latin typeface="Tahoma"/>
                <a:cs typeface="Tahoma"/>
              </a:rPr>
              <a:t>curve</a:t>
            </a:r>
            <a:r>
              <a:rPr sz="1000" spc="-10" dirty="0">
                <a:latin typeface="Tahoma"/>
                <a:cs typeface="Tahoma"/>
              </a:rPr>
              <a:t> for test</a:t>
            </a:r>
            <a:r>
              <a:rPr sz="1000" spc="-15" dirty="0">
                <a:latin typeface="Tahoma"/>
                <a:cs typeface="Tahoma"/>
              </a:rPr>
              <a:t> </a:t>
            </a:r>
            <a:r>
              <a:rPr sz="1000" dirty="0">
                <a:latin typeface="Tahoma"/>
                <a:cs typeface="Tahoma"/>
              </a:rPr>
              <a:t>MSE</a:t>
            </a:r>
            <a:r>
              <a:rPr sz="1000" spc="-10" dirty="0">
                <a:latin typeface="Tahoma"/>
                <a:cs typeface="Tahoma"/>
              </a:rPr>
              <a:t> </a:t>
            </a:r>
            <a:r>
              <a:rPr sz="1000" spc="-30" dirty="0">
                <a:latin typeface="Tahoma"/>
                <a:cs typeface="Tahoma"/>
              </a:rPr>
              <a:t>vs</a:t>
            </a:r>
            <a:r>
              <a:rPr sz="1000" spc="-15" dirty="0">
                <a:latin typeface="Tahoma"/>
                <a:cs typeface="Tahoma"/>
              </a:rPr>
              <a:t> </a:t>
            </a:r>
            <a:r>
              <a:rPr sz="1000" spc="-10" dirty="0">
                <a:latin typeface="Tahoma"/>
                <a:cs typeface="Tahoma"/>
              </a:rPr>
              <a:t>method flexibility.</a:t>
            </a:r>
            <a:endParaRPr sz="1000">
              <a:latin typeface="Tahoma"/>
              <a:cs typeface="Tahoma"/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5" name="object 5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209032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9" name="object 9"/>
          <p:cNvSpPr txBox="1"/>
          <p:nvPr/>
        </p:nvSpPr>
        <p:spPr>
          <a:xfrm>
            <a:off x="2194839" y="3106011"/>
            <a:ext cx="13703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6.1:</a:t>
            </a:r>
            <a:r>
              <a:rPr sz="600" spc="1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Introduction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to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Statistical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0" name="object 10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7465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22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3</a:t>
            </a:r>
          </a:p>
        </p:txBody>
      </p:sp>
    </p:spTree>
  </p:cSld>
  <p:clrMapOvr>
    <a:masterClrMapping/>
  </p:clrMapOvr>
  <p:transition>
    <p:cut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dirty="0"/>
              <a:t>The</a:t>
            </a:r>
            <a:r>
              <a:rPr spc="5" dirty="0"/>
              <a:t> </a:t>
            </a:r>
            <a:r>
              <a:rPr dirty="0"/>
              <a:t>Bias-</a:t>
            </a:r>
            <a:r>
              <a:rPr spc="-45" dirty="0"/>
              <a:t>Variance</a:t>
            </a:r>
            <a:r>
              <a:rPr dirty="0"/>
              <a:t> </a:t>
            </a:r>
            <a:r>
              <a:rPr spc="-45" dirty="0"/>
              <a:t>Trade-</a:t>
            </a:r>
            <a:r>
              <a:rPr spc="-25" dirty="0"/>
              <a:t>Off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56385" y="1028410"/>
            <a:ext cx="3791287" cy="1753381"/>
          </a:xfrm>
          <a:prstGeom prst="rect">
            <a:avLst/>
          </a:prstGeom>
        </p:spPr>
      </p:pic>
      <p:sp>
        <p:nvSpPr>
          <p:cNvPr id="4" name="object 4"/>
          <p:cNvSpPr txBox="1"/>
          <p:nvPr/>
        </p:nvSpPr>
        <p:spPr>
          <a:xfrm>
            <a:off x="125844" y="562519"/>
            <a:ext cx="5541645" cy="2294255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 marR="184150">
              <a:lnSpc>
                <a:spcPct val="102600"/>
              </a:lnSpc>
              <a:spcBef>
                <a:spcPts val="55"/>
              </a:spcBef>
            </a:pPr>
            <a:r>
              <a:rPr sz="1100" spc="55" dirty="0">
                <a:latin typeface="Tahoma"/>
                <a:cs typeface="Tahoma"/>
              </a:rPr>
              <a:t>A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plot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bias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(blue),</a:t>
            </a:r>
            <a:r>
              <a:rPr sz="1100" spc="-40" dirty="0">
                <a:latin typeface="Tahoma"/>
                <a:cs typeface="Tahoma"/>
              </a:rPr>
              <a:t> variance (orange), varianc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error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(dashed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line),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and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test </a:t>
            </a:r>
            <a:r>
              <a:rPr sz="1100" dirty="0">
                <a:latin typeface="Tahoma"/>
                <a:cs typeface="Tahoma"/>
              </a:rPr>
              <a:t>MS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(red) </a:t>
            </a:r>
            <a:r>
              <a:rPr sz="1100" spc="-55" dirty="0">
                <a:latin typeface="Tahoma"/>
                <a:cs typeface="Tahoma"/>
              </a:rPr>
              <a:t>versus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method</a:t>
            </a:r>
            <a:r>
              <a:rPr sz="1100" spc="-20" dirty="0">
                <a:latin typeface="Tahoma"/>
                <a:cs typeface="Tahoma"/>
              </a:rPr>
              <a:t> flexibility for </a:t>
            </a:r>
            <a:r>
              <a:rPr sz="1100" spc="-35" dirty="0">
                <a:latin typeface="Tahoma"/>
                <a:cs typeface="Tahoma"/>
              </a:rPr>
              <a:t>thre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different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data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sets.</a:t>
            </a:r>
            <a:endParaRPr sz="1100">
              <a:latin typeface="Tahoma"/>
              <a:cs typeface="Tahoma"/>
            </a:endParaRPr>
          </a:p>
          <a:p>
            <a:pPr marL="4173854" marR="5080">
              <a:lnSpc>
                <a:spcPct val="102600"/>
              </a:lnSpc>
              <a:spcBef>
                <a:spcPts val="295"/>
              </a:spcBef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-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MSE</a:t>
            </a:r>
            <a:r>
              <a:rPr sz="1100" spc="-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sum</a:t>
            </a:r>
            <a:r>
              <a:rPr sz="1100" spc="-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of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other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three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curves. </a:t>
            </a:r>
            <a:r>
              <a:rPr sz="1100" dirty="0">
                <a:latin typeface="Tahoma"/>
                <a:cs typeface="Tahoma"/>
              </a:rPr>
              <a:t>The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MSE</a:t>
            </a:r>
            <a:r>
              <a:rPr sz="1100" spc="3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cannot</a:t>
            </a:r>
            <a:r>
              <a:rPr sz="1100" spc="2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be </a:t>
            </a:r>
            <a:r>
              <a:rPr sz="1100" spc="-30" dirty="0">
                <a:latin typeface="Tahoma"/>
                <a:cs typeface="Tahoma"/>
              </a:rPr>
              <a:t>smaller</a:t>
            </a:r>
            <a:r>
              <a:rPr sz="1100" spc="-6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an</a:t>
            </a:r>
            <a:r>
              <a:rPr sz="1100" spc="-7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the </a:t>
            </a:r>
            <a:r>
              <a:rPr sz="1100" spc="-40" dirty="0">
                <a:latin typeface="Tahoma"/>
                <a:cs typeface="Tahoma"/>
              </a:rPr>
              <a:t>variance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6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error </a:t>
            </a:r>
            <a:r>
              <a:rPr sz="1100" spc="-30" dirty="0">
                <a:latin typeface="Tahoma"/>
                <a:cs typeface="Tahoma"/>
              </a:rPr>
              <a:t>(irreducible</a:t>
            </a:r>
            <a:r>
              <a:rPr sz="1100" spc="-10" dirty="0">
                <a:latin typeface="Tahoma"/>
                <a:cs typeface="Tahoma"/>
              </a:rPr>
              <a:t> error).</a:t>
            </a:r>
            <a:endParaRPr sz="1100">
              <a:latin typeface="Tahoma"/>
              <a:cs typeface="Tahoma"/>
            </a:endParaRPr>
          </a:p>
          <a:p>
            <a:pPr marL="4173854" marR="76835">
              <a:lnSpc>
                <a:spcPct val="102600"/>
              </a:lnSpc>
              <a:spcBef>
                <a:spcPts val="5"/>
              </a:spcBef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middl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model </a:t>
            </a:r>
            <a:r>
              <a:rPr sz="1100" spc="-25" dirty="0">
                <a:latin typeface="Tahoma"/>
                <a:cs typeface="Tahoma"/>
              </a:rPr>
              <a:t>is </a:t>
            </a:r>
            <a:r>
              <a:rPr sz="1100" spc="-35" dirty="0">
                <a:latin typeface="Tahoma"/>
                <a:cs typeface="Tahoma"/>
              </a:rPr>
              <a:t>clos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linear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so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the </a:t>
            </a:r>
            <a:r>
              <a:rPr sz="1100" spc="-10" dirty="0">
                <a:latin typeface="Tahoma"/>
                <a:cs typeface="Tahoma"/>
              </a:rPr>
              <a:t>test</a:t>
            </a:r>
            <a:r>
              <a:rPr sz="1100" spc="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MSE</a:t>
            </a:r>
            <a:r>
              <a:rPr sz="1100" spc="4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immediately </a:t>
            </a:r>
            <a:r>
              <a:rPr sz="1100" spc="-50" dirty="0">
                <a:latin typeface="Tahoma"/>
                <a:cs typeface="Tahoma"/>
              </a:rPr>
              <a:t>increase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with </a:t>
            </a:r>
            <a:r>
              <a:rPr sz="1100" spc="-10" dirty="0">
                <a:latin typeface="Tahoma"/>
                <a:cs typeface="Tahoma"/>
              </a:rPr>
              <a:t>flexibility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6" name="object 6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" name="object 9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0" name="object 10"/>
          <p:cNvSpPr txBox="1"/>
          <p:nvPr/>
        </p:nvSpPr>
        <p:spPr>
          <a:xfrm>
            <a:off x="2194839" y="3106011"/>
            <a:ext cx="13703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6.1:</a:t>
            </a:r>
            <a:r>
              <a:rPr sz="600" spc="10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Introduction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to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Statistical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1" name="object 11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7465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23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3</a:t>
            </a:r>
          </a:p>
        </p:txBody>
      </p:sp>
    </p:spTree>
  </p:cSld>
  <p:clrMapOvr>
    <a:masterClrMapping/>
  </p:clrMapOvr>
  <p:transition>
    <p:cut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25" dirty="0"/>
              <a:t>Classification </a:t>
            </a:r>
            <a:r>
              <a:rPr dirty="0"/>
              <a:t>Model</a:t>
            </a:r>
            <a:r>
              <a:rPr spc="-20" dirty="0"/>
              <a:t> Accuracy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25844" y="966913"/>
            <a:ext cx="5508625" cy="1310640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 marR="52069">
              <a:lnSpc>
                <a:spcPct val="102600"/>
              </a:lnSpc>
              <a:spcBef>
                <a:spcPts val="55"/>
              </a:spcBef>
            </a:pPr>
            <a:r>
              <a:rPr sz="1100" dirty="0">
                <a:latin typeface="Tahoma"/>
                <a:cs typeface="Tahoma"/>
              </a:rPr>
              <a:t>So</a:t>
            </a:r>
            <a:r>
              <a:rPr sz="1100" spc="-9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far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95" dirty="0">
                <a:latin typeface="Tahoma"/>
                <a:cs typeface="Tahoma"/>
              </a:rPr>
              <a:t>w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hav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discussed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model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accuracy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n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context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regression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but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sam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idea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apply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classification.</a:t>
            </a:r>
            <a:endParaRPr sz="1100">
              <a:latin typeface="Tahoma"/>
              <a:cs typeface="Tahoma"/>
            </a:endParaRPr>
          </a:p>
          <a:p>
            <a:pPr marL="289560">
              <a:lnSpc>
                <a:spcPct val="100000"/>
              </a:lnSpc>
              <a:spcBef>
                <a:spcPts val="710"/>
              </a:spcBef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-9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most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common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approach</a:t>
            </a:r>
            <a:r>
              <a:rPr sz="1100" spc="-20" dirty="0">
                <a:latin typeface="Tahoma"/>
                <a:cs typeface="Tahoma"/>
              </a:rPr>
              <a:t> for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assessing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model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accuracy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114" dirty="0">
                <a:latin typeface="Arial Black"/>
                <a:cs typeface="Arial Black"/>
              </a:rPr>
              <a:t>training</a:t>
            </a:r>
            <a:r>
              <a:rPr sz="1100" spc="25" dirty="0">
                <a:latin typeface="Arial Black"/>
                <a:cs typeface="Arial Black"/>
              </a:rPr>
              <a:t> </a:t>
            </a:r>
            <a:r>
              <a:rPr sz="1100" spc="-125" dirty="0">
                <a:latin typeface="Arial Black"/>
                <a:cs typeface="Arial Black"/>
              </a:rPr>
              <a:t>error</a:t>
            </a:r>
            <a:r>
              <a:rPr sz="1100" spc="30" dirty="0">
                <a:latin typeface="Arial Black"/>
                <a:cs typeface="Arial Black"/>
              </a:rPr>
              <a:t> </a:t>
            </a:r>
            <a:r>
              <a:rPr sz="1100" spc="-20" dirty="0">
                <a:latin typeface="Arial Black"/>
                <a:cs typeface="Arial Black"/>
              </a:rPr>
              <a:t>rate</a:t>
            </a:r>
            <a:endParaRPr sz="1100">
              <a:latin typeface="Arial Black"/>
              <a:cs typeface="Arial Black"/>
            </a:endParaRPr>
          </a:p>
          <a:p>
            <a:pPr marL="289560">
              <a:lnSpc>
                <a:spcPct val="100000"/>
              </a:lnSpc>
              <a:spcBef>
                <a:spcPts val="35"/>
              </a:spcBef>
            </a:pPr>
            <a:r>
              <a:rPr sz="1100" spc="-25" dirty="0">
                <a:latin typeface="Tahoma"/>
                <a:cs typeface="Tahoma"/>
              </a:rPr>
              <a:t>which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proportion</a:t>
            </a:r>
            <a:r>
              <a:rPr sz="1100" spc="-4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of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misclassified</a:t>
            </a:r>
            <a:r>
              <a:rPr sz="1100" spc="-4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training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observations</a:t>
            </a:r>
            <a:r>
              <a:rPr sz="1100" spc="-10" dirty="0">
                <a:latin typeface="Tahoma"/>
                <a:cs typeface="Tahoma"/>
              </a:rPr>
              <a:t>.</a:t>
            </a:r>
            <a:endParaRPr sz="1100">
              <a:latin typeface="Tahoma"/>
              <a:cs typeface="Tahoma"/>
            </a:endParaRPr>
          </a:p>
          <a:p>
            <a:pPr marL="289560">
              <a:lnSpc>
                <a:spcPct val="100000"/>
              </a:lnSpc>
              <a:spcBef>
                <a:spcPts val="35"/>
              </a:spcBef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-90" dirty="0">
                <a:latin typeface="Tahoma"/>
                <a:cs typeface="Tahoma"/>
              </a:rPr>
              <a:t> </a:t>
            </a:r>
            <a:r>
              <a:rPr sz="1100" spc="-135" dirty="0">
                <a:latin typeface="Arial Black"/>
                <a:cs typeface="Arial Black"/>
              </a:rPr>
              <a:t>test</a:t>
            </a:r>
            <a:r>
              <a:rPr sz="1100" spc="30" dirty="0">
                <a:latin typeface="Arial Black"/>
                <a:cs typeface="Arial Black"/>
              </a:rPr>
              <a:t> </a:t>
            </a:r>
            <a:r>
              <a:rPr sz="1100" spc="-125" dirty="0">
                <a:latin typeface="Arial Black"/>
                <a:cs typeface="Arial Black"/>
              </a:rPr>
              <a:t>error</a:t>
            </a:r>
            <a:r>
              <a:rPr sz="1100" spc="30" dirty="0">
                <a:latin typeface="Arial Black"/>
                <a:cs typeface="Arial Black"/>
              </a:rPr>
              <a:t> </a:t>
            </a:r>
            <a:r>
              <a:rPr sz="1100" spc="-130" dirty="0">
                <a:latin typeface="Arial Black"/>
                <a:cs typeface="Arial Black"/>
              </a:rPr>
              <a:t>rate</a:t>
            </a:r>
            <a:r>
              <a:rPr sz="1100" spc="-5" dirty="0">
                <a:latin typeface="Arial Black"/>
                <a:cs typeface="Arial Black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what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spc="-95" dirty="0">
                <a:latin typeface="Tahoma"/>
                <a:cs typeface="Tahoma"/>
              </a:rPr>
              <a:t>we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re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actually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interested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n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and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hoping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10" dirty="0">
                <a:latin typeface="Tahoma"/>
                <a:cs typeface="Tahoma"/>
              </a:rPr>
              <a:t> minimise.</a:t>
            </a:r>
            <a:endParaRPr sz="1100">
              <a:latin typeface="Tahoma"/>
              <a:cs typeface="Tahoma"/>
            </a:endParaRPr>
          </a:p>
          <a:p>
            <a:pPr marL="289560" marR="5080">
              <a:lnSpc>
                <a:spcPct val="102600"/>
              </a:lnSpc>
              <a:spcBef>
                <a:spcPts val="5"/>
              </a:spcBef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bias-</a:t>
            </a:r>
            <a:r>
              <a:rPr sz="1100" spc="-40" dirty="0">
                <a:latin typeface="Tahoma"/>
                <a:cs typeface="Tahoma"/>
              </a:rPr>
              <a:t>variance </a:t>
            </a:r>
            <a:r>
              <a:rPr sz="1100" spc="-50" dirty="0">
                <a:latin typeface="Tahoma"/>
                <a:cs typeface="Tahoma"/>
              </a:rPr>
              <a:t>trade-</a:t>
            </a:r>
            <a:r>
              <a:rPr sz="1100" spc="-10" dirty="0">
                <a:latin typeface="Tahoma"/>
                <a:cs typeface="Tahoma"/>
              </a:rPr>
              <a:t>off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what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controls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est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error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rat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n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classification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context as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well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5" name="object 5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9" name="object 9"/>
          <p:cNvSpPr txBox="1"/>
          <p:nvPr/>
        </p:nvSpPr>
        <p:spPr>
          <a:xfrm>
            <a:off x="2194839" y="3106011"/>
            <a:ext cx="13703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6.1:</a:t>
            </a:r>
            <a:r>
              <a:rPr sz="600" spc="1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Introduction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to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Statistical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0" name="object 10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7465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24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3</a:t>
            </a:r>
          </a:p>
        </p:txBody>
      </p:sp>
    </p:spTree>
  </p:cSld>
  <p:clrMapOvr>
    <a:masterClrMapping/>
  </p:clrMapOvr>
  <p:transition>
    <p:cut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65" dirty="0"/>
              <a:t>References</a:t>
            </a:r>
          </a:p>
        </p:txBody>
      </p:sp>
      <p:sp>
        <p:nvSpPr>
          <p:cNvPr id="3" name="object 3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vert="horz" wrap="square" lIns="0" tIns="325842" rIns="0" bIns="0" rtlCol="0">
            <a:spAutoFit/>
          </a:bodyPr>
          <a:lstStyle/>
          <a:p>
            <a:pPr marL="50800">
              <a:lnSpc>
                <a:spcPct val="100000"/>
              </a:lnSpc>
              <a:spcBef>
                <a:spcPts val="815"/>
              </a:spcBef>
            </a:pPr>
            <a:r>
              <a:rPr spc="-25" dirty="0"/>
              <a:t>Chapter</a:t>
            </a:r>
            <a:r>
              <a:rPr spc="-45" dirty="0"/>
              <a:t> </a:t>
            </a:r>
            <a:r>
              <a:rPr dirty="0"/>
              <a:t>2</a:t>
            </a:r>
            <a:r>
              <a:rPr spc="-40" dirty="0"/>
              <a:t> </a:t>
            </a:r>
            <a:r>
              <a:rPr dirty="0"/>
              <a:t>of</a:t>
            </a:r>
            <a:r>
              <a:rPr spc="-40" dirty="0"/>
              <a:t> </a:t>
            </a:r>
            <a:r>
              <a:rPr spc="-10" dirty="0"/>
              <a:t>the</a:t>
            </a:r>
            <a:r>
              <a:rPr spc="-40" dirty="0"/>
              <a:t> </a:t>
            </a:r>
            <a:r>
              <a:rPr spc="-10" dirty="0"/>
              <a:t>ISLR2</a:t>
            </a:r>
            <a:r>
              <a:rPr spc="-40" dirty="0"/>
              <a:t> </a:t>
            </a:r>
            <a:r>
              <a:rPr spc="-35" dirty="0"/>
              <a:t>and</a:t>
            </a:r>
            <a:r>
              <a:rPr spc="-40" dirty="0"/>
              <a:t> </a:t>
            </a:r>
            <a:r>
              <a:rPr dirty="0"/>
              <a:t>ISLP</a:t>
            </a:r>
            <a:r>
              <a:rPr spc="-40" dirty="0"/>
              <a:t> </a:t>
            </a:r>
            <a:r>
              <a:rPr spc="-10" dirty="0"/>
              <a:t>books:</a:t>
            </a:r>
          </a:p>
          <a:p>
            <a:pPr marL="50800" marR="5080">
              <a:lnSpc>
                <a:spcPct val="102600"/>
              </a:lnSpc>
              <a:spcBef>
                <a:spcPts val="675"/>
              </a:spcBef>
            </a:pPr>
            <a:r>
              <a:rPr spc="-35" dirty="0"/>
              <a:t>James,</a:t>
            </a:r>
            <a:r>
              <a:rPr spc="-50" dirty="0"/>
              <a:t> </a:t>
            </a:r>
            <a:r>
              <a:rPr spc="-35" dirty="0"/>
              <a:t>Gareth,</a:t>
            </a:r>
            <a:r>
              <a:rPr spc="-40" dirty="0"/>
              <a:t> </a:t>
            </a:r>
            <a:r>
              <a:rPr dirty="0"/>
              <a:t>et</a:t>
            </a:r>
            <a:r>
              <a:rPr spc="-40" dirty="0"/>
              <a:t> </a:t>
            </a:r>
            <a:r>
              <a:rPr dirty="0"/>
              <a:t>al.</a:t>
            </a:r>
            <a:r>
              <a:rPr spc="-40" dirty="0"/>
              <a:t> </a:t>
            </a:r>
            <a:r>
              <a:rPr dirty="0"/>
              <a:t>“Statistical</a:t>
            </a:r>
            <a:r>
              <a:rPr spc="-40" dirty="0"/>
              <a:t> </a:t>
            </a:r>
            <a:r>
              <a:rPr spc="-35" dirty="0"/>
              <a:t>Learning.”</a:t>
            </a:r>
            <a:r>
              <a:rPr spc="60" dirty="0"/>
              <a:t> </a:t>
            </a:r>
            <a:r>
              <a:rPr dirty="0"/>
              <a:t>An</a:t>
            </a:r>
            <a:r>
              <a:rPr spc="-40" dirty="0"/>
              <a:t> </a:t>
            </a:r>
            <a:r>
              <a:rPr spc="-30" dirty="0"/>
              <a:t>Introduction</a:t>
            </a:r>
            <a:r>
              <a:rPr spc="-40" dirty="0"/>
              <a:t> </a:t>
            </a:r>
            <a:r>
              <a:rPr dirty="0"/>
              <a:t>to</a:t>
            </a:r>
            <a:r>
              <a:rPr spc="-40" dirty="0"/>
              <a:t> </a:t>
            </a:r>
            <a:r>
              <a:rPr dirty="0"/>
              <a:t>Statistical</a:t>
            </a:r>
            <a:r>
              <a:rPr spc="-40" dirty="0"/>
              <a:t> </a:t>
            </a:r>
            <a:r>
              <a:rPr spc="-35" dirty="0"/>
              <a:t>Learning:</a:t>
            </a:r>
            <a:r>
              <a:rPr spc="65" dirty="0"/>
              <a:t> </a:t>
            </a:r>
            <a:r>
              <a:rPr spc="-20" dirty="0"/>
              <a:t>with Applications</a:t>
            </a:r>
            <a:r>
              <a:rPr spc="-10" dirty="0"/>
              <a:t> </a:t>
            </a:r>
            <a:r>
              <a:rPr dirty="0"/>
              <a:t>in</a:t>
            </a:r>
            <a:r>
              <a:rPr spc="-10" dirty="0"/>
              <a:t> </a:t>
            </a:r>
            <a:r>
              <a:rPr dirty="0"/>
              <a:t>R,</a:t>
            </a:r>
            <a:r>
              <a:rPr spc="-10" dirty="0"/>
              <a:t> </a:t>
            </a:r>
            <a:r>
              <a:rPr spc="-40" dirty="0"/>
              <a:t>2nd</a:t>
            </a:r>
            <a:r>
              <a:rPr spc="-5" dirty="0"/>
              <a:t> </a:t>
            </a:r>
            <a:r>
              <a:rPr spc="-50" dirty="0"/>
              <a:t>ed.,</a:t>
            </a:r>
            <a:r>
              <a:rPr spc="-10" dirty="0"/>
              <a:t> </a:t>
            </a:r>
            <a:r>
              <a:rPr spc="-40" dirty="0"/>
              <a:t>Springer,</a:t>
            </a:r>
            <a:r>
              <a:rPr spc="-10" dirty="0"/>
              <a:t> 2021.</a:t>
            </a:r>
          </a:p>
          <a:p>
            <a:pPr marL="50800" marR="5080">
              <a:lnSpc>
                <a:spcPct val="102600"/>
              </a:lnSpc>
              <a:spcBef>
                <a:spcPts val="680"/>
              </a:spcBef>
            </a:pPr>
            <a:r>
              <a:rPr spc="-35" dirty="0"/>
              <a:t>James,</a:t>
            </a:r>
            <a:r>
              <a:rPr spc="-50" dirty="0"/>
              <a:t> </a:t>
            </a:r>
            <a:r>
              <a:rPr spc="-35" dirty="0"/>
              <a:t>Gareth,</a:t>
            </a:r>
            <a:r>
              <a:rPr spc="-40" dirty="0"/>
              <a:t> </a:t>
            </a:r>
            <a:r>
              <a:rPr dirty="0"/>
              <a:t>et</a:t>
            </a:r>
            <a:r>
              <a:rPr spc="-40" dirty="0"/>
              <a:t> </a:t>
            </a:r>
            <a:r>
              <a:rPr dirty="0"/>
              <a:t>al.</a:t>
            </a:r>
            <a:r>
              <a:rPr spc="-40" dirty="0"/>
              <a:t> </a:t>
            </a:r>
            <a:r>
              <a:rPr dirty="0"/>
              <a:t>“Statistical</a:t>
            </a:r>
            <a:r>
              <a:rPr spc="-40" dirty="0"/>
              <a:t> </a:t>
            </a:r>
            <a:r>
              <a:rPr spc="-35" dirty="0"/>
              <a:t>Learning.”</a:t>
            </a:r>
            <a:r>
              <a:rPr spc="60" dirty="0"/>
              <a:t> </a:t>
            </a:r>
            <a:r>
              <a:rPr dirty="0"/>
              <a:t>An</a:t>
            </a:r>
            <a:r>
              <a:rPr spc="-40" dirty="0"/>
              <a:t> </a:t>
            </a:r>
            <a:r>
              <a:rPr spc="-30" dirty="0"/>
              <a:t>Introduction</a:t>
            </a:r>
            <a:r>
              <a:rPr spc="-40" dirty="0"/>
              <a:t> </a:t>
            </a:r>
            <a:r>
              <a:rPr dirty="0"/>
              <a:t>to</a:t>
            </a:r>
            <a:r>
              <a:rPr spc="-40" dirty="0"/>
              <a:t> </a:t>
            </a:r>
            <a:r>
              <a:rPr dirty="0"/>
              <a:t>Statistical</a:t>
            </a:r>
            <a:r>
              <a:rPr spc="-40" dirty="0"/>
              <a:t> </a:t>
            </a:r>
            <a:r>
              <a:rPr spc="-35" dirty="0"/>
              <a:t>Learning:</a:t>
            </a:r>
            <a:r>
              <a:rPr spc="65" dirty="0"/>
              <a:t> </a:t>
            </a:r>
            <a:r>
              <a:rPr spc="-20" dirty="0"/>
              <a:t>with Applications </a:t>
            </a:r>
            <a:r>
              <a:rPr dirty="0"/>
              <a:t>in</a:t>
            </a:r>
            <a:r>
              <a:rPr spc="-20" dirty="0"/>
              <a:t> </a:t>
            </a:r>
            <a:r>
              <a:rPr spc="-10" dirty="0"/>
              <a:t>Python,</a:t>
            </a:r>
            <a:r>
              <a:rPr spc="-15" dirty="0"/>
              <a:t> </a:t>
            </a:r>
            <a:r>
              <a:rPr spc="-40" dirty="0"/>
              <a:t>Springer,</a:t>
            </a:r>
            <a:r>
              <a:rPr spc="-20" dirty="0"/>
              <a:t> </a:t>
            </a:r>
            <a:r>
              <a:rPr spc="-10" dirty="0"/>
              <a:t>2023.</a:t>
            </a:r>
          </a:p>
        </p:txBody>
      </p:sp>
      <p:grpSp>
        <p:nvGrpSpPr>
          <p:cNvPr id="4" name="object 4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5" name="object 5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9" name="object 9"/>
          <p:cNvSpPr txBox="1"/>
          <p:nvPr/>
        </p:nvSpPr>
        <p:spPr>
          <a:xfrm>
            <a:off x="2194839" y="3106011"/>
            <a:ext cx="13703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6.1:</a:t>
            </a:r>
            <a:r>
              <a:rPr sz="600" spc="1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Introduction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to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Statistical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0" name="object 10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7465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25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3</a:t>
            </a:r>
          </a:p>
        </p:txBody>
      </p:sp>
    </p:spTree>
  </p:cSld>
  <p:clrMapOvr>
    <a:masterClrMapping/>
  </p:clrMapOvr>
  <p:transition>
    <p:cut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9AC4FFA3-0603-6C12-4F9B-D3A5C7ECF2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4947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C4FFA3-0603-6C12-4F9B-D3A5C7ECF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4486"/>
            <a:ext cx="2788920" cy="232756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lang="en-US" spc="-35" dirty="0"/>
              <a:t>Class Norms </a:t>
            </a:r>
            <a:endParaRPr spc="-35" dirty="0"/>
          </a:p>
        </p:txBody>
      </p:sp>
      <p:grpSp>
        <p:nvGrpSpPr>
          <p:cNvPr id="4" name="object 4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5" name="object 5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9" name="object 9"/>
          <p:cNvSpPr txBox="1"/>
          <p:nvPr/>
        </p:nvSpPr>
        <p:spPr>
          <a:xfrm>
            <a:off x="2194839" y="3106011"/>
            <a:ext cx="13703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6.1:</a:t>
            </a:r>
            <a:r>
              <a:rPr sz="600" spc="1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Introduction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to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Statistical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0" name="object 10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3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3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DE45EA3-4D32-7B18-18B4-C228C563834D}"/>
              </a:ext>
            </a:extLst>
          </p:cNvPr>
          <p:cNvSpPr txBox="1"/>
          <p:nvPr/>
        </p:nvSpPr>
        <p:spPr>
          <a:xfrm>
            <a:off x="33346" y="1012825"/>
            <a:ext cx="5134572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lease remain engaged and ask questions as needed, this is your time! </a:t>
            </a:r>
          </a:p>
          <a:p>
            <a:endParaRPr lang="en-US" sz="1400" dirty="0">
              <a:solidFill>
                <a:schemeClr val="tx2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en-US" sz="1400" dirty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vide constructive feedback to make the course better </a:t>
            </a:r>
          </a:p>
          <a:p>
            <a:endParaRPr lang="en-US" sz="1400" dirty="0">
              <a:solidFill>
                <a:schemeClr val="tx2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en-US" sz="1400" dirty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isten to and learn from each other </a:t>
            </a:r>
            <a:endParaRPr lang="en-US" sz="1400" dirty="0">
              <a:solidFill>
                <a:schemeClr val="tx2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Wingdings" panose="05000000000000000000" pitchFamily="2" charset="2"/>
            </a:endParaRPr>
          </a:p>
          <a:p>
            <a:endParaRPr lang="en-US" sz="1400" dirty="0">
              <a:solidFill>
                <a:schemeClr val="tx2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Wingdings" panose="05000000000000000000" pitchFamily="2" charset="2"/>
            </a:endParaRPr>
          </a:p>
          <a:p>
            <a:r>
              <a:rPr lang="en-US" sz="1400" dirty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Anything else? </a:t>
            </a:r>
            <a:endParaRPr lang="en-US" sz="1400" dirty="0">
              <a:solidFill>
                <a:schemeClr val="tx2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2056887"/>
      </p:ext>
    </p:extLst>
  </p:cSld>
  <p:clrMapOvr>
    <a:masterClrMapping/>
  </p:clrMapOvr>
  <p:transition>
    <p:cut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dirty="0"/>
              <a:t>What</a:t>
            </a:r>
            <a:r>
              <a:rPr spc="-50" dirty="0"/>
              <a:t> </a:t>
            </a:r>
            <a:r>
              <a:rPr dirty="0"/>
              <a:t>is</a:t>
            </a:r>
            <a:r>
              <a:rPr spc="-50" dirty="0"/>
              <a:t> </a:t>
            </a:r>
            <a:r>
              <a:rPr dirty="0"/>
              <a:t>Statistical</a:t>
            </a:r>
            <a:r>
              <a:rPr spc="-50" dirty="0"/>
              <a:t> </a:t>
            </a:r>
            <a:r>
              <a:rPr spc="-35" dirty="0"/>
              <a:t>Learning?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75044" y="715859"/>
            <a:ext cx="5478145" cy="1913255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63500" marR="55880">
              <a:lnSpc>
                <a:spcPct val="102600"/>
              </a:lnSpc>
              <a:spcBef>
                <a:spcPts val="55"/>
              </a:spcBef>
            </a:pPr>
            <a:r>
              <a:rPr sz="1100" spc="-45" dirty="0">
                <a:latin typeface="Tahoma"/>
                <a:cs typeface="Tahoma"/>
              </a:rPr>
              <a:t>Suppose </a:t>
            </a:r>
            <a:r>
              <a:rPr sz="1100" spc="-95" dirty="0">
                <a:latin typeface="Tahoma"/>
                <a:cs typeface="Tahoma"/>
              </a:rPr>
              <a:t>w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want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figur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ut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association</a:t>
            </a:r>
            <a:r>
              <a:rPr sz="1100" spc="-2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70" dirty="0">
                <a:solidFill>
                  <a:srgbClr val="FF0000"/>
                </a:solidFill>
                <a:latin typeface="Tahoma"/>
                <a:cs typeface="Tahoma"/>
              </a:rPr>
              <a:t>between</a:t>
            </a:r>
            <a:r>
              <a:rPr sz="1100" spc="-1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the</a:t>
            </a:r>
            <a:r>
              <a:rPr sz="1100" spc="-2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allocation</a:t>
            </a:r>
            <a:r>
              <a:rPr sz="1100" spc="-2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of</a:t>
            </a:r>
            <a:r>
              <a:rPr sz="1100" spc="-2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advertising</a:t>
            </a:r>
            <a:r>
              <a:rPr sz="1100" spc="-2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budgets 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and</a:t>
            </a:r>
            <a:r>
              <a:rPr sz="1100" spc="-2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55" dirty="0">
                <a:solidFill>
                  <a:srgbClr val="FF0000"/>
                </a:solidFill>
                <a:latin typeface="Tahoma"/>
                <a:cs typeface="Tahoma"/>
              </a:rPr>
              <a:t>sales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increas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sales</a:t>
            </a:r>
            <a:r>
              <a:rPr sz="1100" spc="-20" dirty="0">
                <a:latin typeface="Tahoma"/>
                <a:cs typeface="Tahoma"/>
              </a:rPr>
              <a:t> for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client.</a:t>
            </a:r>
            <a:endParaRPr sz="1100" dirty="0">
              <a:latin typeface="Tahoma"/>
              <a:cs typeface="Tahoma"/>
            </a:endParaRPr>
          </a:p>
          <a:p>
            <a:pPr marL="340360">
              <a:lnSpc>
                <a:spcPct val="100000"/>
              </a:lnSpc>
              <a:spcBef>
                <a:spcPts val="710"/>
              </a:spcBef>
            </a:pPr>
            <a:r>
              <a:rPr sz="1100" spc="-20" dirty="0">
                <a:latin typeface="Tahoma"/>
                <a:cs typeface="Tahoma"/>
              </a:rPr>
              <a:t>Ther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r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thre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type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advertising:</a:t>
            </a:r>
            <a:r>
              <a:rPr sz="1100" spc="7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V,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radio,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and </a:t>
            </a:r>
            <a:r>
              <a:rPr sz="1100" spc="-55" dirty="0">
                <a:latin typeface="Tahoma"/>
                <a:cs typeface="Tahoma"/>
              </a:rPr>
              <a:t>newspaper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which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can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b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labelled</a:t>
            </a:r>
            <a:endParaRPr sz="1100" dirty="0">
              <a:latin typeface="Tahoma"/>
              <a:cs typeface="Tahoma"/>
            </a:endParaRPr>
          </a:p>
          <a:p>
            <a:pPr marL="340360">
              <a:lnSpc>
                <a:spcPct val="100000"/>
              </a:lnSpc>
              <a:spcBef>
                <a:spcPts val="35"/>
              </a:spcBef>
            </a:pPr>
            <a:r>
              <a:rPr sz="1100" spc="125" dirty="0">
                <a:latin typeface="Cambria"/>
                <a:cs typeface="Cambria"/>
              </a:rPr>
              <a:t>𝑋</a:t>
            </a:r>
            <a:r>
              <a:rPr sz="1125" spc="187" baseline="-22222" dirty="0">
                <a:latin typeface="Cambria"/>
                <a:cs typeface="Cambria"/>
              </a:rPr>
              <a:t>1</a:t>
            </a:r>
            <a:r>
              <a:rPr sz="1100" spc="125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125" dirty="0">
                <a:latin typeface="Cambria"/>
                <a:cs typeface="Cambria"/>
              </a:rPr>
              <a:t>𝑋</a:t>
            </a:r>
            <a:r>
              <a:rPr sz="1125" spc="187" baseline="-22222" dirty="0">
                <a:latin typeface="Cambria"/>
                <a:cs typeface="Cambria"/>
              </a:rPr>
              <a:t>2</a:t>
            </a:r>
            <a:r>
              <a:rPr sz="1100" spc="125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𝑎𝑛𝑑</a:t>
            </a:r>
            <a:r>
              <a:rPr sz="1100" spc="120" dirty="0">
                <a:latin typeface="Cambria"/>
                <a:cs typeface="Cambria"/>
              </a:rPr>
              <a:t> 𝑋</a:t>
            </a:r>
            <a:r>
              <a:rPr sz="1125" spc="179" baseline="-22222" dirty="0">
                <a:latin typeface="Cambria"/>
                <a:cs typeface="Cambria"/>
              </a:rPr>
              <a:t>3</a:t>
            </a:r>
            <a:r>
              <a:rPr sz="1125" spc="345" baseline="-22222" dirty="0">
                <a:latin typeface="Cambria"/>
                <a:cs typeface="Cambria"/>
              </a:rPr>
              <a:t> </a:t>
            </a:r>
            <a:r>
              <a:rPr sz="1100" spc="-10" dirty="0">
                <a:latin typeface="Tahoma"/>
                <a:cs typeface="Tahoma"/>
              </a:rPr>
              <a:t>respectively.</a:t>
            </a:r>
            <a:endParaRPr sz="1100" dirty="0">
              <a:latin typeface="Tahoma"/>
              <a:cs typeface="Tahoma"/>
            </a:endParaRPr>
          </a:p>
          <a:p>
            <a:pPr marL="340360">
              <a:lnSpc>
                <a:spcPct val="100000"/>
              </a:lnSpc>
              <a:spcBef>
                <a:spcPts val="715"/>
              </a:spcBef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advertising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budgets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r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independent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variables,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or </a:t>
            </a:r>
            <a:r>
              <a:rPr sz="1100" spc="-140" dirty="0">
                <a:latin typeface="Arial Black"/>
                <a:cs typeface="Arial Black"/>
              </a:rPr>
              <a:t>predictor</a:t>
            </a:r>
            <a:r>
              <a:rPr sz="1100" spc="30" dirty="0">
                <a:latin typeface="Arial Black"/>
                <a:cs typeface="Arial Black"/>
              </a:rPr>
              <a:t> </a:t>
            </a:r>
            <a:r>
              <a:rPr sz="1100" spc="-30" dirty="0">
                <a:latin typeface="Arial Black"/>
                <a:cs typeface="Arial Black"/>
              </a:rPr>
              <a:t>variables</a:t>
            </a:r>
            <a:r>
              <a:rPr sz="1100" spc="-30" dirty="0">
                <a:latin typeface="Tahoma"/>
                <a:cs typeface="Tahoma"/>
              </a:rPr>
              <a:t>.</a:t>
            </a:r>
            <a:endParaRPr sz="1100" dirty="0">
              <a:latin typeface="Tahoma"/>
              <a:cs typeface="Tahoma"/>
            </a:endParaRPr>
          </a:p>
          <a:p>
            <a:pPr marL="340360" marR="123189">
              <a:lnSpc>
                <a:spcPct val="102600"/>
              </a:lnSpc>
              <a:spcBef>
                <a:spcPts val="680"/>
              </a:spcBef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-9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sales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10" dirty="0">
                <a:latin typeface="Tahoma"/>
                <a:cs typeface="Tahoma"/>
              </a:rPr>
              <a:t> the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dependent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variable,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or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spc="-165" dirty="0">
                <a:latin typeface="Arial Black"/>
                <a:cs typeface="Arial Black"/>
              </a:rPr>
              <a:t>response</a:t>
            </a:r>
            <a:r>
              <a:rPr sz="1100" spc="30" dirty="0">
                <a:latin typeface="Arial Black"/>
                <a:cs typeface="Arial Black"/>
              </a:rPr>
              <a:t> </a:t>
            </a:r>
            <a:r>
              <a:rPr sz="1100" spc="-140" dirty="0">
                <a:latin typeface="Arial Black"/>
                <a:cs typeface="Arial Black"/>
              </a:rPr>
              <a:t>variable</a:t>
            </a:r>
            <a:r>
              <a:rPr sz="1100" spc="-5" dirty="0">
                <a:latin typeface="Arial Black"/>
                <a:cs typeface="Arial Black"/>
              </a:rPr>
              <a:t> </a:t>
            </a:r>
            <a:r>
              <a:rPr sz="1100" spc="-25" dirty="0">
                <a:latin typeface="Tahoma"/>
                <a:cs typeface="Tahoma"/>
              </a:rPr>
              <a:t>which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95" dirty="0">
                <a:latin typeface="Tahoma"/>
                <a:cs typeface="Tahoma"/>
              </a:rPr>
              <a:t>w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label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Y.When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you </a:t>
            </a:r>
            <a:r>
              <a:rPr sz="1100" dirty="0">
                <a:latin typeface="Tahoma"/>
                <a:cs typeface="Tahoma"/>
              </a:rPr>
              <a:t>click</a:t>
            </a:r>
            <a:r>
              <a:rPr sz="1100" spc="-7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45" dirty="0">
                <a:latin typeface="Arial Black"/>
                <a:cs typeface="Arial Black"/>
              </a:rPr>
              <a:t>Render</a:t>
            </a:r>
            <a:r>
              <a:rPr sz="1100" spc="-5" dirty="0">
                <a:latin typeface="Arial Black"/>
                <a:cs typeface="Arial Black"/>
              </a:rPr>
              <a:t> </a:t>
            </a:r>
            <a:r>
              <a:rPr sz="1100" spc="-20" dirty="0">
                <a:latin typeface="Tahoma"/>
                <a:cs typeface="Tahoma"/>
              </a:rPr>
              <a:t>button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document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will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b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generated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hat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includes:</a:t>
            </a:r>
            <a:endParaRPr sz="1100" dirty="0">
              <a:latin typeface="Tahoma"/>
              <a:cs typeface="Tahoma"/>
            </a:endParaRPr>
          </a:p>
          <a:p>
            <a:pPr marL="340360" marR="327025">
              <a:lnSpc>
                <a:spcPct val="102600"/>
              </a:lnSpc>
              <a:spcBef>
                <a:spcPts val="675"/>
              </a:spcBef>
            </a:pPr>
            <a:r>
              <a:rPr sz="1100" dirty="0">
                <a:latin typeface="Tahoma"/>
                <a:cs typeface="Tahoma"/>
              </a:rPr>
              <a:t>Each</a:t>
            </a:r>
            <a:r>
              <a:rPr sz="1100" spc="-8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observation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n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dataset </a:t>
            </a:r>
            <a:r>
              <a:rPr sz="1100" spc="-45" dirty="0">
                <a:latin typeface="Tahoma"/>
                <a:cs typeface="Tahoma"/>
              </a:rPr>
              <a:t>ha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35" dirty="0">
                <a:latin typeface="Tahoma"/>
                <a:cs typeface="Tahoma"/>
              </a:rPr>
              <a:t> valu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for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predictor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125" dirty="0">
                <a:latin typeface="Cambria"/>
                <a:cs typeface="Cambria"/>
              </a:rPr>
              <a:t>𝑋</a:t>
            </a:r>
            <a:r>
              <a:rPr sz="1125" spc="187" baseline="-22222" dirty="0">
                <a:latin typeface="Cambria"/>
                <a:cs typeface="Cambria"/>
              </a:rPr>
              <a:t>1</a:t>
            </a:r>
            <a:r>
              <a:rPr sz="1100" spc="125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125" dirty="0">
                <a:latin typeface="Cambria"/>
                <a:cs typeface="Cambria"/>
              </a:rPr>
              <a:t>𝑋</a:t>
            </a:r>
            <a:r>
              <a:rPr sz="1125" spc="187" baseline="-22222" dirty="0">
                <a:latin typeface="Cambria"/>
                <a:cs typeface="Cambria"/>
              </a:rPr>
              <a:t>2</a:t>
            </a:r>
            <a:r>
              <a:rPr sz="1100" spc="125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125" dirty="0">
                <a:latin typeface="Cambria"/>
                <a:cs typeface="Cambria"/>
              </a:rPr>
              <a:t>𝑋</a:t>
            </a:r>
            <a:r>
              <a:rPr sz="1125" spc="187" baseline="-22222" dirty="0">
                <a:latin typeface="Cambria"/>
                <a:cs typeface="Cambria"/>
              </a:rPr>
              <a:t>3</a:t>
            </a:r>
            <a:r>
              <a:rPr sz="1100" spc="125" dirty="0">
                <a:latin typeface="Cambria"/>
                <a:cs typeface="Cambria"/>
              </a:rPr>
              <a:t>,</a:t>
            </a:r>
            <a:r>
              <a:rPr sz="1100" spc="75" dirty="0">
                <a:latin typeface="Cambria"/>
                <a:cs typeface="Cambria"/>
              </a:rPr>
              <a:t> </a:t>
            </a:r>
            <a:r>
              <a:rPr sz="1100" spc="-35" dirty="0">
                <a:latin typeface="Tahoma"/>
                <a:cs typeface="Tahoma"/>
              </a:rPr>
              <a:t>and </a:t>
            </a:r>
            <a:r>
              <a:rPr sz="1100" spc="-25" dirty="0">
                <a:latin typeface="Tahoma"/>
                <a:cs typeface="Tahoma"/>
              </a:rPr>
              <a:t>the </a:t>
            </a:r>
            <a:r>
              <a:rPr sz="1100" spc="-65" dirty="0">
                <a:latin typeface="Tahoma"/>
                <a:cs typeface="Tahoma"/>
              </a:rPr>
              <a:t>response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dirty="0">
                <a:latin typeface="Cambria"/>
                <a:cs typeface="Cambria"/>
              </a:rPr>
              <a:t>𝑌</a:t>
            </a:r>
            <a:r>
              <a:rPr sz="1100" spc="-5" dirty="0">
                <a:latin typeface="Cambria"/>
                <a:cs typeface="Cambria"/>
              </a:rPr>
              <a:t> </a:t>
            </a:r>
            <a:r>
              <a:rPr sz="1100" spc="-50" dirty="0">
                <a:latin typeface="Tahoma"/>
                <a:cs typeface="Tahoma"/>
              </a:rPr>
              <a:t>.</a:t>
            </a:r>
            <a:endParaRPr sz="1100" dirty="0">
              <a:latin typeface="Tahoma"/>
              <a:cs typeface="Tahoma"/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5" name="object 5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9" name="object 9"/>
          <p:cNvSpPr txBox="1"/>
          <p:nvPr/>
        </p:nvSpPr>
        <p:spPr>
          <a:xfrm>
            <a:off x="2194839" y="3106011"/>
            <a:ext cx="13703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6.1:</a:t>
            </a:r>
            <a:r>
              <a:rPr sz="600" spc="1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Introduction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to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Statistical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0" name="object 10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4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3</a:t>
            </a:r>
          </a:p>
        </p:txBody>
      </p:sp>
    </p:spTree>
  </p:cSld>
  <p:clrMapOvr>
    <a:masterClrMapping/>
  </p:clrMapOvr>
  <p:transition>
    <p:cut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dirty="0"/>
              <a:t>What</a:t>
            </a:r>
            <a:r>
              <a:rPr spc="-50" dirty="0"/>
              <a:t> </a:t>
            </a:r>
            <a:r>
              <a:rPr dirty="0"/>
              <a:t>is</a:t>
            </a:r>
            <a:r>
              <a:rPr spc="-50" dirty="0"/>
              <a:t> </a:t>
            </a:r>
            <a:r>
              <a:rPr dirty="0"/>
              <a:t>Statistical</a:t>
            </a:r>
            <a:r>
              <a:rPr spc="-50" dirty="0"/>
              <a:t> </a:t>
            </a:r>
            <a:r>
              <a:rPr spc="-35" dirty="0"/>
              <a:t>Learning?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25844" y="405776"/>
            <a:ext cx="5365115" cy="363855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 marR="5080">
              <a:lnSpc>
                <a:spcPct val="102600"/>
              </a:lnSpc>
              <a:spcBef>
                <a:spcPts val="55"/>
              </a:spcBef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sale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n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relation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each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advertising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budget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r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shown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along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with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simple </a:t>
            </a:r>
            <a:r>
              <a:rPr sz="1100" spc="-10" dirty="0">
                <a:latin typeface="Tahoma"/>
                <a:cs typeface="Tahoma"/>
              </a:rPr>
              <a:t>fitted line</a:t>
            </a:r>
            <a:r>
              <a:rPr sz="1100" spc="-6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for</a:t>
            </a:r>
            <a:r>
              <a:rPr sz="1100" spc="-6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6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relationships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0" y="956896"/>
            <a:ext cx="5760085" cy="2283460"/>
            <a:chOff x="0" y="956896"/>
            <a:chExt cx="5760085" cy="2283460"/>
          </a:xfrm>
        </p:grpSpPr>
        <p:pic>
          <p:nvPicPr>
            <p:cNvPr id="5" name="object 5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400609" y="956896"/>
              <a:ext cx="4843771" cy="2155627"/>
            </a:xfrm>
            <a:prstGeom prst="rect">
              <a:avLst/>
            </a:prstGeom>
          </p:spPr>
        </p:pic>
        <p:sp>
          <p:nvSpPr>
            <p:cNvPr id="6" name="object 6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" name="object 9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209032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0" name="object 10"/>
          <p:cNvSpPr txBox="1"/>
          <p:nvPr/>
        </p:nvSpPr>
        <p:spPr>
          <a:xfrm>
            <a:off x="2194839" y="3106011"/>
            <a:ext cx="13703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6.1:</a:t>
            </a:r>
            <a:r>
              <a:rPr sz="600" spc="10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Introduction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to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Statistical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1" name="object 11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5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3</a:t>
            </a:r>
          </a:p>
        </p:txBody>
      </p:sp>
    </p:spTree>
  </p:cSld>
  <p:clrMapOvr>
    <a:masterClrMapping/>
  </p:clrMapOvr>
  <p:transition>
    <p:cut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dirty="0"/>
              <a:t>What</a:t>
            </a:r>
            <a:r>
              <a:rPr spc="-50" dirty="0"/>
              <a:t> </a:t>
            </a:r>
            <a:r>
              <a:rPr dirty="0"/>
              <a:t>is</a:t>
            </a:r>
            <a:r>
              <a:rPr spc="-50" dirty="0"/>
              <a:t> </a:t>
            </a:r>
            <a:r>
              <a:rPr dirty="0"/>
              <a:t>Statistical</a:t>
            </a:r>
            <a:r>
              <a:rPr spc="-50" dirty="0"/>
              <a:t> </a:t>
            </a:r>
            <a:r>
              <a:rPr spc="-35" dirty="0"/>
              <a:t>Learning?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75044" y="684908"/>
            <a:ext cx="5480685" cy="707390"/>
          </a:xfrm>
          <a:prstGeom prst="rect">
            <a:avLst/>
          </a:prstGeom>
        </p:spPr>
        <p:txBody>
          <a:bodyPr vert="horz" wrap="square" lIns="0" tIns="96520" rIns="0" bIns="0" rtlCol="0">
            <a:spAutoFit/>
          </a:bodyPr>
          <a:lstStyle/>
          <a:p>
            <a:pPr marL="63500">
              <a:lnSpc>
                <a:spcPct val="100000"/>
              </a:lnSpc>
              <a:spcBef>
                <a:spcPts val="760"/>
              </a:spcBef>
            </a:pPr>
            <a:r>
              <a:rPr sz="1100" dirty="0">
                <a:latin typeface="Tahoma"/>
                <a:cs typeface="Tahoma"/>
              </a:rPr>
              <a:t>We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want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find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relationship </a:t>
            </a:r>
            <a:r>
              <a:rPr sz="1100" spc="-70" dirty="0">
                <a:latin typeface="Tahoma"/>
                <a:cs typeface="Tahoma"/>
              </a:rPr>
              <a:t>between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predictor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variable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and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respons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variable.</a:t>
            </a:r>
            <a:endParaRPr sz="1100">
              <a:latin typeface="Tahoma"/>
              <a:cs typeface="Tahoma"/>
            </a:endParaRPr>
          </a:p>
          <a:p>
            <a:pPr marL="62865" marR="55880">
              <a:lnSpc>
                <a:spcPct val="102600"/>
              </a:lnSpc>
              <a:spcBef>
                <a:spcPts val="680"/>
              </a:spcBef>
            </a:pPr>
            <a:r>
              <a:rPr sz="1100" dirty="0">
                <a:latin typeface="Tahoma"/>
                <a:cs typeface="Tahoma"/>
              </a:rPr>
              <a:t>We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can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assum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hat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there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relationship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between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210" dirty="0">
                <a:latin typeface="Cambria"/>
                <a:cs typeface="Cambria"/>
              </a:rPr>
              <a:t>𝑋</a:t>
            </a:r>
            <a:r>
              <a:rPr sz="1100" spc="8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45" dirty="0">
                <a:latin typeface="Cambria"/>
                <a:cs typeface="Cambria"/>
              </a:rPr>
              <a:t> </a:t>
            </a:r>
            <a:r>
              <a:rPr sz="1100" spc="95" dirty="0">
                <a:latin typeface="Cambria"/>
                <a:cs typeface="Cambria"/>
              </a:rPr>
              <a:t>(𝑋</a:t>
            </a:r>
            <a:r>
              <a:rPr sz="1125" spc="142" baseline="-22222" dirty="0">
                <a:latin typeface="Cambria"/>
                <a:cs typeface="Cambria"/>
              </a:rPr>
              <a:t>1</a:t>
            </a:r>
            <a:r>
              <a:rPr sz="1100" spc="95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125" dirty="0">
                <a:latin typeface="Cambria"/>
                <a:cs typeface="Cambria"/>
              </a:rPr>
              <a:t>𝑋</a:t>
            </a:r>
            <a:r>
              <a:rPr sz="1125" spc="187" baseline="-22222" dirty="0">
                <a:latin typeface="Cambria"/>
                <a:cs typeface="Cambria"/>
              </a:rPr>
              <a:t>2</a:t>
            </a:r>
            <a:r>
              <a:rPr sz="1100" spc="125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100" dirty="0">
                <a:latin typeface="Cambria"/>
                <a:cs typeface="Cambria"/>
              </a:rPr>
              <a:t>𝑋</a:t>
            </a:r>
            <a:r>
              <a:rPr sz="1125" spc="150" baseline="-22222" dirty="0">
                <a:latin typeface="Cambria"/>
                <a:cs typeface="Cambria"/>
              </a:rPr>
              <a:t>3</a:t>
            </a:r>
            <a:r>
              <a:rPr sz="1100" spc="100" dirty="0">
                <a:latin typeface="Cambria"/>
                <a:cs typeface="Cambria"/>
              </a:rPr>
              <a:t>)</a:t>
            </a:r>
            <a:r>
              <a:rPr sz="1100" spc="85" dirty="0">
                <a:latin typeface="Cambria"/>
                <a:cs typeface="Cambria"/>
              </a:rPr>
              <a:t> </a:t>
            </a:r>
            <a:r>
              <a:rPr sz="1100" spc="-35" dirty="0">
                <a:latin typeface="Tahoma"/>
                <a:cs typeface="Tahoma"/>
              </a:rPr>
              <a:t>and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dirty="0">
                <a:latin typeface="Cambria"/>
                <a:cs typeface="Cambria"/>
              </a:rPr>
              <a:t>𝑌</a:t>
            </a:r>
            <a:r>
              <a:rPr sz="1100" spc="295" dirty="0">
                <a:latin typeface="Cambria"/>
                <a:cs typeface="Cambria"/>
              </a:rPr>
              <a:t> </a:t>
            </a:r>
            <a:r>
              <a:rPr sz="1100" spc="-25" dirty="0">
                <a:latin typeface="Tahoma"/>
                <a:cs typeface="Tahoma"/>
              </a:rPr>
              <a:t>which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can </a:t>
            </a:r>
            <a:r>
              <a:rPr sz="1100" spc="-25" dirty="0">
                <a:latin typeface="Tahoma"/>
                <a:cs typeface="Tahoma"/>
              </a:rPr>
              <a:t>be </a:t>
            </a:r>
            <a:r>
              <a:rPr sz="1100" spc="-20" dirty="0">
                <a:latin typeface="Tahoma"/>
                <a:cs typeface="Tahoma"/>
              </a:rPr>
              <a:t>written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n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general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form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F04214C-4342-59AD-F909-04853FF4D6D3}"/>
              </a:ext>
            </a:extLst>
          </p:cNvPr>
          <p:cNvGrpSpPr/>
          <p:nvPr/>
        </p:nvGrpSpPr>
        <p:grpSpPr>
          <a:xfrm>
            <a:off x="90262" y="1669719"/>
            <a:ext cx="5635626" cy="770000"/>
            <a:chOff x="87743" y="1667033"/>
            <a:chExt cx="5635626" cy="770000"/>
          </a:xfrm>
        </p:grpSpPr>
        <p:grpSp>
          <p:nvGrpSpPr>
            <p:cNvPr id="4" name="object 4"/>
            <p:cNvGrpSpPr/>
            <p:nvPr/>
          </p:nvGrpSpPr>
          <p:grpSpPr>
            <a:xfrm>
              <a:off x="87743" y="1671858"/>
              <a:ext cx="5635625" cy="765175"/>
              <a:chOff x="87743" y="1481264"/>
              <a:chExt cx="5635625" cy="765175"/>
            </a:xfrm>
          </p:grpSpPr>
          <p:sp>
            <p:nvSpPr>
              <p:cNvPr id="5" name="object 5"/>
              <p:cNvSpPr/>
              <p:nvPr/>
            </p:nvSpPr>
            <p:spPr>
              <a:xfrm>
                <a:off x="87743" y="1481264"/>
                <a:ext cx="5584825" cy="82550"/>
              </a:xfrm>
              <a:custGeom>
                <a:avLst/>
                <a:gdLst/>
                <a:ahLst/>
                <a:cxnLst/>
                <a:rect l="l" t="t" r="r" b="b"/>
                <a:pathLst>
                  <a:path w="5584825" h="82550">
                    <a:moveTo>
                      <a:pt x="5533780" y="0"/>
                    </a:moveTo>
                    <a:lnTo>
                      <a:pt x="50800" y="0"/>
                    </a:lnTo>
                    <a:lnTo>
                      <a:pt x="31075" y="4008"/>
                    </a:lnTo>
                    <a:lnTo>
                      <a:pt x="14922" y="14922"/>
                    </a:lnTo>
                    <a:lnTo>
                      <a:pt x="4008" y="31075"/>
                    </a:lnTo>
                    <a:lnTo>
                      <a:pt x="0" y="50800"/>
                    </a:lnTo>
                    <a:lnTo>
                      <a:pt x="0" y="82384"/>
                    </a:lnTo>
                    <a:lnTo>
                      <a:pt x="5584580" y="82384"/>
                    </a:lnTo>
                    <a:lnTo>
                      <a:pt x="5584580" y="50800"/>
                    </a:lnTo>
                    <a:lnTo>
                      <a:pt x="5580572" y="31075"/>
                    </a:lnTo>
                    <a:lnTo>
                      <a:pt x="5569658" y="14922"/>
                    </a:lnTo>
                    <a:lnTo>
                      <a:pt x="5553505" y="4008"/>
                    </a:lnTo>
                    <a:lnTo>
                      <a:pt x="5533780" y="0"/>
                    </a:lnTo>
                    <a:close/>
                  </a:path>
                </a:pathLst>
              </a:custGeom>
              <a:solidFill>
                <a:srgbClr val="E5E5EA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6" name="object 6"/>
              <p:cNvSpPr/>
              <p:nvPr/>
            </p:nvSpPr>
            <p:spPr>
              <a:xfrm>
                <a:off x="138544" y="1544522"/>
                <a:ext cx="5584825" cy="702310"/>
              </a:xfrm>
              <a:custGeom>
                <a:avLst/>
                <a:gdLst/>
                <a:ahLst/>
                <a:cxnLst/>
                <a:rect l="l" t="t" r="r" b="b"/>
                <a:pathLst>
                  <a:path w="5584825" h="702310">
                    <a:moveTo>
                      <a:pt x="5584580" y="0"/>
                    </a:moveTo>
                    <a:lnTo>
                      <a:pt x="0" y="0"/>
                    </a:lnTo>
                    <a:lnTo>
                      <a:pt x="0" y="701739"/>
                    </a:lnTo>
                    <a:lnTo>
                      <a:pt x="5584580" y="701739"/>
                    </a:lnTo>
                    <a:lnTo>
                      <a:pt x="5584580" y="0"/>
                    </a:lnTo>
                    <a:close/>
                  </a:path>
                </a:pathLst>
              </a:custGeom>
              <a:solidFill>
                <a:srgbClr val="000000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7" name="object 7"/>
              <p:cNvSpPr/>
              <p:nvPr/>
            </p:nvSpPr>
            <p:spPr>
              <a:xfrm>
                <a:off x="87743" y="1525686"/>
                <a:ext cx="5584825" cy="669925"/>
              </a:xfrm>
              <a:custGeom>
                <a:avLst/>
                <a:gdLst/>
                <a:ahLst/>
                <a:cxnLst/>
                <a:rect l="l" t="t" r="r" b="b"/>
                <a:pathLst>
                  <a:path w="5584825" h="669925">
                    <a:moveTo>
                      <a:pt x="5584580" y="0"/>
                    </a:moveTo>
                    <a:lnTo>
                      <a:pt x="0" y="0"/>
                    </a:lnTo>
                    <a:lnTo>
                      <a:pt x="0" y="618975"/>
                    </a:lnTo>
                    <a:lnTo>
                      <a:pt x="4008" y="638700"/>
                    </a:lnTo>
                    <a:lnTo>
                      <a:pt x="14922" y="654853"/>
                    </a:lnTo>
                    <a:lnTo>
                      <a:pt x="31075" y="665767"/>
                    </a:lnTo>
                    <a:lnTo>
                      <a:pt x="50800" y="669775"/>
                    </a:lnTo>
                    <a:lnTo>
                      <a:pt x="5533780" y="669775"/>
                    </a:lnTo>
                    <a:lnTo>
                      <a:pt x="5553505" y="665767"/>
                    </a:lnTo>
                    <a:lnTo>
                      <a:pt x="5569658" y="654853"/>
                    </a:lnTo>
                    <a:lnTo>
                      <a:pt x="5580572" y="638700"/>
                    </a:lnTo>
                    <a:lnTo>
                      <a:pt x="5584580" y="618975"/>
                    </a:lnTo>
                    <a:lnTo>
                      <a:pt x="5584580" y="0"/>
                    </a:lnTo>
                    <a:close/>
                  </a:path>
                </a:pathLst>
              </a:custGeom>
              <a:solidFill>
                <a:srgbClr val="E5E5EA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sp>
          <p:nvSpPr>
            <p:cNvPr id="8" name="object 8"/>
            <p:cNvSpPr txBox="1"/>
            <p:nvPr/>
          </p:nvSpPr>
          <p:spPr>
            <a:xfrm>
              <a:off x="138544" y="1667033"/>
              <a:ext cx="5584825" cy="702310"/>
            </a:xfrm>
            <a:prstGeom prst="rect">
              <a:avLst/>
            </a:prstGeom>
          </p:spPr>
          <p:txBody>
            <a:bodyPr vert="horz" wrap="square" lIns="0" tIns="38735" rIns="0" bIns="0" rtlCol="0">
              <a:spAutoFit/>
            </a:bodyPr>
            <a:lstStyle/>
            <a:p>
              <a:pPr marR="93980" algn="ctr">
                <a:lnSpc>
                  <a:spcPct val="100000"/>
                </a:lnSpc>
                <a:spcBef>
                  <a:spcPts val="305"/>
                </a:spcBef>
              </a:pPr>
              <a:r>
                <a:rPr sz="1100" dirty="0">
                  <a:latin typeface="Cambria"/>
                  <a:cs typeface="Cambria"/>
                </a:rPr>
                <a:t>𝑌</a:t>
              </a:r>
              <a:r>
                <a:rPr sz="1100" spc="295" dirty="0">
                  <a:latin typeface="Cambria"/>
                  <a:cs typeface="Cambria"/>
                </a:rPr>
                <a:t> </a:t>
              </a:r>
              <a:r>
                <a:rPr sz="1100" spc="254" dirty="0">
                  <a:latin typeface="Cambria"/>
                  <a:cs typeface="Cambria"/>
                </a:rPr>
                <a:t>=</a:t>
              </a:r>
              <a:r>
                <a:rPr sz="1100" spc="75" dirty="0">
                  <a:latin typeface="Cambria"/>
                  <a:cs typeface="Cambria"/>
                </a:rPr>
                <a:t> </a:t>
              </a:r>
              <a:r>
                <a:rPr sz="1100" spc="80" dirty="0">
                  <a:latin typeface="Cambria"/>
                  <a:cs typeface="Cambria"/>
                </a:rPr>
                <a:t>𝑓(𝑋)</a:t>
              </a:r>
              <a:r>
                <a:rPr sz="1100" spc="5" dirty="0">
                  <a:latin typeface="Cambria"/>
                  <a:cs typeface="Cambria"/>
                </a:rPr>
                <a:t> </a:t>
              </a:r>
              <a:r>
                <a:rPr sz="1100" spc="254" dirty="0">
                  <a:latin typeface="Cambria"/>
                  <a:cs typeface="Cambria"/>
                </a:rPr>
                <a:t>+</a:t>
              </a:r>
              <a:r>
                <a:rPr sz="1100" spc="5" dirty="0">
                  <a:latin typeface="Cambria"/>
                  <a:cs typeface="Cambria"/>
                </a:rPr>
                <a:t> </a:t>
              </a:r>
              <a:r>
                <a:rPr sz="1100" spc="-50" dirty="0">
                  <a:latin typeface="Cambria"/>
                  <a:cs typeface="Cambria"/>
                </a:rPr>
                <a:t>𝜖</a:t>
              </a:r>
              <a:endParaRPr sz="1100" dirty="0">
                <a:latin typeface="Cambria"/>
                <a:cs typeface="Cambria"/>
              </a:endParaRPr>
            </a:p>
            <a:p>
              <a:pPr marL="276860">
                <a:lnSpc>
                  <a:spcPct val="100000"/>
                </a:lnSpc>
                <a:spcBef>
                  <a:spcPts val="680"/>
                </a:spcBef>
              </a:pPr>
              <a:r>
                <a:rPr sz="1100" dirty="0">
                  <a:latin typeface="Cambria"/>
                  <a:cs typeface="Cambria"/>
                </a:rPr>
                <a:t>𝑓</a:t>
              </a:r>
              <a:r>
                <a:rPr sz="1100" spc="150" dirty="0">
                  <a:latin typeface="Cambria"/>
                  <a:cs typeface="Cambria"/>
                </a:rPr>
                <a:t> </a:t>
              </a:r>
              <a:r>
                <a:rPr sz="1100" dirty="0">
                  <a:latin typeface="Tahoma"/>
                  <a:cs typeface="Tahoma"/>
                </a:rPr>
                <a:t>is</a:t>
              </a:r>
              <a:r>
                <a:rPr sz="1100" spc="-40" dirty="0">
                  <a:latin typeface="Tahoma"/>
                  <a:cs typeface="Tahoma"/>
                </a:rPr>
                <a:t> </a:t>
              </a:r>
              <a:r>
                <a:rPr sz="1100" dirty="0">
                  <a:latin typeface="Tahoma"/>
                  <a:cs typeface="Tahoma"/>
                </a:rPr>
                <a:t>a</a:t>
              </a:r>
              <a:r>
                <a:rPr sz="1100" spc="-35" dirty="0">
                  <a:latin typeface="Tahoma"/>
                  <a:cs typeface="Tahoma"/>
                </a:rPr>
                <a:t> </a:t>
              </a:r>
              <a:r>
                <a:rPr sz="1100" spc="-30" dirty="0">
                  <a:latin typeface="Tahoma"/>
                  <a:cs typeface="Tahoma"/>
                </a:rPr>
                <a:t>fixed</a:t>
              </a:r>
              <a:r>
                <a:rPr sz="1100" spc="-35" dirty="0">
                  <a:latin typeface="Tahoma"/>
                  <a:cs typeface="Tahoma"/>
                </a:rPr>
                <a:t> </a:t>
              </a:r>
              <a:r>
                <a:rPr sz="1100" spc="-50" dirty="0">
                  <a:latin typeface="Tahoma"/>
                  <a:cs typeface="Tahoma"/>
                </a:rPr>
                <a:t>unknown</a:t>
              </a:r>
              <a:r>
                <a:rPr sz="1100" spc="-35" dirty="0">
                  <a:latin typeface="Tahoma"/>
                  <a:cs typeface="Tahoma"/>
                </a:rPr>
                <a:t> </a:t>
              </a:r>
              <a:r>
                <a:rPr sz="1100" spc="-25" dirty="0">
                  <a:latin typeface="Tahoma"/>
                  <a:cs typeface="Tahoma"/>
                </a:rPr>
                <a:t>function</a:t>
              </a:r>
              <a:r>
                <a:rPr sz="1100" spc="-40" dirty="0">
                  <a:latin typeface="Tahoma"/>
                  <a:cs typeface="Tahoma"/>
                </a:rPr>
                <a:t> </a:t>
              </a:r>
              <a:r>
                <a:rPr sz="1100" dirty="0">
                  <a:latin typeface="Tahoma"/>
                  <a:cs typeface="Tahoma"/>
                </a:rPr>
                <a:t>of</a:t>
              </a:r>
              <a:r>
                <a:rPr sz="1100" spc="-35" dirty="0">
                  <a:latin typeface="Tahoma"/>
                  <a:cs typeface="Tahoma"/>
                </a:rPr>
                <a:t> </a:t>
              </a:r>
              <a:r>
                <a:rPr sz="1100" spc="-10" dirty="0">
                  <a:latin typeface="Tahoma"/>
                  <a:cs typeface="Tahoma"/>
                </a:rPr>
                <a:t>the</a:t>
              </a:r>
              <a:r>
                <a:rPr sz="1100" spc="-35" dirty="0">
                  <a:latin typeface="Tahoma"/>
                  <a:cs typeface="Tahoma"/>
                </a:rPr>
                <a:t> </a:t>
              </a:r>
              <a:r>
                <a:rPr sz="1100" spc="-40" dirty="0">
                  <a:latin typeface="Tahoma"/>
                  <a:cs typeface="Tahoma"/>
                </a:rPr>
                <a:t>predictor </a:t>
              </a:r>
              <a:r>
                <a:rPr sz="1100" spc="-10" dirty="0">
                  <a:latin typeface="Tahoma"/>
                  <a:cs typeface="Tahoma"/>
                </a:rPr>
                <a:t>variables.</a:t>
              </a:r>
              <a:endParaRPr sz="1100" dirty="0">
                <a:latin typeface="Tahoma"/>
                <a:cs typeface="Tahoma"/>
              </a:endParaRPr>
            </a:p>
            <a:p>
              <a:pPr marL="276860">
                <a:lnSpc>
                  <a:spcPct val="100000"/>
                </a:lnSpc>
                <a:spcBef>
                  <a:spcPts val="35"/>
                </a:spcBef>
              </a:pPr>
              <a:r>
                <a:rPr sz="1100" dirty="0">
                  <a:latin typeface="Cambria"/>
                  <a:cs typeface="Cambria"/>
                </a:rPr>
                <a:t>𝜖</a:t>
              </a:r>
              <a:r>
                <a:rPr sz="1100" spc="55" dirty="0">
                  <a:latin typeface="Cambria"/>
                  <a:cs typeface="Cambria"/>
                </a:rPr>
                <a:t> </a:t>
              </a:r>
              <a:r>
                <a:rPr sz="1100" dirty="0">
                  <a:latin typeface="Tahoma"/>
                  <a:cs typeface="Tahoma"/>
                </a:rPr>
                <a:t>is</a:t>
              </a:r>
              <a:r>
                <a:rPr sz="1100" spc="-40" dirty="0">
                  <a:latin typeface="Tahoma"/>
                  <a:cs typeface="Tahoma"/>
                </a:rPr>
                <a:t> </a:t>
              </a:r>
              <a:r>
                <a:rPr sz="1100" dirty="0">
                  <a:latin typeface="Tahoma"/>
                  <a:cs typeface="Tahoma"/>
                </a:rPr>
                <a:t>a</a:t>
              </a:r>
              <a:r>
                <a:rPr sz="1100" spc="-35" dirty="0">
                  <a:latin typeface="Tahoma"/>
                  <a:cs typeface="Tahoma"/>
                </a:rPr>
                <a:t> </a:t>
              </a:r>
              <a:r>
                <a:rPr sz="1100" spc="-40" dirty="0">
                  <a:latin typeface="Tahoma"/>
                  <a:cs typeface="Tahoma"/>
                </a:rPr>
                <a:t>random </a:t>
              </a:r>
              <a:r>
                <a:rPr sz="1100" spc="-50" dirty="0">
                  <a:latin typeface="Tahoma"/>
                  <a:cs typeface="Tahoma"/>
                </a:rPr>
                <a:t>error</a:t>
              </a:r>
              <a:r>
                <a:rPr sz="1100" spc="-40" dirty="0">
                  <a:latin typeface="Tahoma"/>
                  <a:cs typeface="Tahoma"/>
                </a:rPr>
                <a:t> </a:t>
              </a:r>
              <a:r>
                <a:rPr sz="1100" spc="-20" dirty="0">
                  <a:latin typeface="Tahoma"/>
                  <a:cs typeface="Tahoma"/>
                </a:rPr>
                <a:t>term</a:t>
              </a:r>
              <a:r>
                <a:rPr sz="1100" spc="-35" dirty="0">
                  <a:latin typeface="Tahoma"/>
                  <a:cs typeface="Tahoma"/>
                </a:rPr>
                <a:t> </a:t>
              </a:r>
              <a:r>
                <a:rPr sz="1100" spc="-25" dirty="0">
                  <a:latin typeface="Tahoma"/>
                  <a:cs typeface="Tahoma"/>
                </a:rPr>
                <a:t>which</a:t>
              </a:r>
              <a:r>
                <a:rPr sz="1100" spc="-40" dirty="0">
                  <a:latin typeface="Tahoma"/>
                  <a:cs typeface="Tahoma"/>
                </a:rPr>
                <a:t> </a:t>
              </a:r>
              <a:r>
                <a:rPr sz="1100" spc="-45" dirty="0">
                  <a:latin typeface="Tahoma"/>
                  <a:cs typeface="Tahoma"/>
                </a:rPr>
                <a:t>has</a:t>
              </a:r>
              <a:r>
                <a:rPr sz="1100" spc="-40" dirty="0">
                  <a:latin typeface="Tahoma"/>
                  <a:cs typeface="Tahoma"/>
                </a:rPr>
                <a:t> </a:t>
              </a:r>
              <a:r>
                <a:rPr sz="1100" spc="-60" dirty="0">
                  <a:latin typeface="Tahoma"/>
                  <a:cs typeface="Tahoma"/>
                </a:rPr>
                <a:t>mean</a:t>
              </a:r>
              <a:r>
                <a:rPr sz="1100" spc="-25" dirty="0">
                  <a:latin typeface="Tahoma"/>
                  <a:cs typeface="Tahoma"/>
                </a:rPr>
                <a:t> </a:t>
              </a:r>
              <a:r>
                <a:rPr sz="1100" spc="-10" dirty="0">
                  <a:latin typeface="Tahoma"/>
                  <a:cs typeface="Tahoma"/>
                </a:rPr>
                <a:t>zero.</a:t>
              </a:r>
              <a:endParaRPr sz="1100" dirty="0">
                <a:latin typeface="Tahoma"/>
                <a:cs typeface="Tahoma"/>
              </a:endParaRPr>
            </a:p>
          </p:txBody>
        </p:sp>
      </p:grpSp>
      <p:sp>
        <p:nvSpPr>
          <p:cNvPr id="9" name="object 9"/>
          <p:cNvSpPr txBox="1"/>
          <p:nvPr/>
        </p:nvSpPr>
        <p:spPr>
          <a:xfrm>
            <a:off x="125844" y="2602563"/>
            <a:ext cx="519874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Statistical</a:t>
            </a:r>
            <a:r>
              <a:rPr sz="1100" spc="-8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learning</a:t>
            </a:r>
            <a:r>
              <a:rPr sz="1100" spc="-4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is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50" dirty="0">
                <a:solidFill>
                  <a:srgbClr val="FF0000"/>
                </a:solidFill>
                <a:latin typeface="Tahoma"/>
                <a:cs typeface="Tahoma"/>
              </a:rPr>
              <a:t>summarized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by</a:t>
            </a:r>
            <a:r>
              <a:rPr sz="1100" spc="-4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the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set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of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50" dirty="0">
                <a:solidFill>
                  <a:srgbClr val="FF0000"/>
                </a:solidFill>
                <a:latin typeface="Tahoma"/>
                <a:cs typeface="Tahoma"/>
              </a:rPr>
              <a:t>approached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25" dirty="0">
                <a:solidFill>
                  <a:srgbClr val="FF0000"/>
                </a:solidFill>
                <a:latin typeface="Tahoma"/>
                <a:cs typeface="Tahoma"/>
              </a:rPr>
              <a:t>which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55" dirty="0">
                <a:solidFill>
                  <a:srgbClr val="FF0000"/>
                </a:solidFill>
                <a:latin typeface="Tahoma"/>
                <a:cs typeface="Tahoma"/>
              </a:rPr>
              <a:t>are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60" dirty="0">
                <a:solidFill>
                  <a:srgbClr val="FF0000"/>
                </a:solidFill>
                <a:latin typeface="Tahoma"/>
                <a:cs typeface="Tahoma"/>
              </a:rPr>
              <a:t>used</a:t>
            </a:r>
            <a:r>
              <a:rPr sz="1100" spc="-2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to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estimate</a:t>
            </a:r>
            <a:r>
              <a:rPr sz="1100" spc="-4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60" dirty="0">
                <a:solidFill>
                  <a:srgbClr val="FF0000"/>
                </a:solidFill>
                <a:latin typeface="Cambria"/>
                <a:cs typeface="Cambria"/>
              </a:rPr>
              <a:t>𝑓</a:t>
            </a:r>
            <a:r>
              <a:rPr sz="1100" spc="-145" dirty="0">
                <a:solidFill>
                  <a:srgbClr val="FF0000"/>
                </a:solidFill>
                <a:latin typeface="Cambria"/>
                <a:cs typeface="Cambria"/>
              </a:rPr>
              <a:t> </a:t>
            </a:r>
            <a:r>
              <a:rPr sz="1100" spc="-50" dirty="0">
                <a:solidFill>
                  <a:srgbClr val="FF0000"/>
                </a:solidFill>
                <a:latin typeface="Tahoma"/>
                <a:cs typeface="Tahoma"/>
              </a:rPr>
              <a:t>.</a:t>
            </a:r>
            <a:endParaRPr sz="1100" dirty="0">
              <a:latin typeface="Tahoma"/>
              <a:cs typeface="Tahoma"/>
            </a:endParaRPr>
          </a:p>
        </p:txBody>
      </p:sp>
      <p:grpSp>
        <p:nvGrpSpPr>
          <p:cNvPr id="10" name="object 10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1" name="object 11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4" name="object 14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209032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5" name="object 15"/>
          <p:cNvSpPr txBox="1"/>
          <p:nvPr/>
        </p:nvSpPr>
        <p:spPr>
          <a:xfrm>
            <a:off x="2194839" y="3106011"/>
            <a:ext cx="13703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6.1:</a:t>
            </a:r>
            <a:r>
              <a:rPr sz="600" spc="1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Introduction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to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Statistical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6" name="object 16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6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3</a:t>
            </a:r>
          </a:p>
        </p:txBody>
      </p:sp>
    </p:spTree>
  </p:cSld>
  <p:clrMapOvr>
    <a:masterClrMapping/>
  </p:clrMapOvr>
  <p:transition>
    <p:cut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10" dirty="0"/>
              <a:t>Prediction</a:t>
            </a:r>
            <a:r>
              <a:rPr spc="-75" dirty="0"/>
              <a:t> </a:t>
            </a:r>
            <a:r>
              <a:rPr spc="-10" dirty="0"/>
              <a:t>vs</a:t>
            </a:r>
            <a:r>
              <a:rPr spc="-75" dirty="0"/>
              <a:t> </a:t>
            </a:r>
            <a:r>
              <a:rPr spc="-70" dirty="0"/>
              <a:t>Inference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25844" y="962084"/>
            <a:ext cx="5508625" cy="1149985"/>
          </a:xfrm>
          <a:prstGeom prst="rect">
            <a:avLst/>
          </a:prstGeom>
        </p:spPr>
        <p:txBody>
          <a:bodyPr vert="horz" wrap="square" lIns="0" tIns="10922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860"/>
              </a:spcBef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-6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r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wo</a:t>
            </a:r>
            <a:r>
              <a:rPr sz="1100" spc="-25" dirty="0">
                <a:latin typeface="Tahoma"/>
                <a:cs typeface="Tahoma"/>
              </a:rPr>
              <a:t> main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reason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for </a:t>
            </a:r>
            <a:r>
              <a:rPr sz="1100" spc="-45" dirty="0">
                <a:latin typeface="Tahoma"/>
                <a:cs typeface="Tahoma"/>
              </a:rPr>
              <a:t>why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95" dirty="0">
                <a:latin typeface="Tahoma"/>
                <a:cs typeface="Tahoma"/>
              </a:rPr>
              <a:t>we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want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estimat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60" dirty="0">
                <a:latin typeface="Cambria"/>
                <a:cs typeface="Cambria"/>
              </a:rPr>
              <a:t>𝑓</a:t>
            </a:r>
            <a:r>
              <a:rPr sz="1100" spc="-145" dirty="0">
                <a:latin typeface="Cambria"/>
                <a:cs typeface="Cambria"/>
              </a:rPr>
              <a:t> </a:t>
            </a:r>
            <a:r>
              <a:rPr sz="1100" spc="-50" dirty="0">
                <a:latin typeface="Tahoma"/>
                <a:cs typeface="Tahoma"/>
              </a:rPr>
              <a:t>:</a:t>
            </a:r>
            <a:endParaRPr sz="1100">
              <a:latin typeface="Tahoma"/>
              <a:cs typeface="Tahoma"/>
            </a:endParaRPr>
          </a:p>
          <a:p>
            <a:pPr marL="289560" marR="223520">
              <a:lnSpc>
                <a:spcPct val="102699"/>
              </a:lnSpc>
              <a:spcBef>
                <a:spcPts val="675"/>
              </a:spcBef>
            </a:pPr>
            <a:r>
              <a:rPr sz="1100" spc="-120" dirty="0">
                <a:latin typeface="Arial Black"/>
                <a:cs typeface="Arial Black"/>
              </a:rPr>
              <a:t>Prediction</a:t>
            </a:r>
            <a:r>
              <a:rPr sz="1100" spc="-5" dirty="0">
                <a:latin typeface="Arial Black"/>
                <a:cs typeface="Arial Black"/>
              </a:rPr>
              <a:t> </a:t>
            </a:r>
            <a:r>
              <a:rPr sz="1100" dirty="0">
                <a:latin typeface="Tahoma"/>
                <a:cs typeface="Tahoma"/>
              </a:rPr>
              <a:t>We</a:t>
            </a:r>
            <a:r>
              <a:rPr sz="1100" spc="-7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want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know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what</a:t>
            </a:r>
            <a:r>
              <a:rPr sz="1100" spc="-2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65" dirty="0">
                <a:solidFill>
                  <a:srgbClr val="FF0000"/>
                </a:solidFill>
                <a:latin typeface="Tahoma"/>
                <a:cs typeface="Tahoma"/>
              </a:rPr>
              <a:t>response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is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45" dirty="0">
                <a:solidFill>
                  <a:srgbClr val="FF0000"/>
                </a:solidFill>
                <a:latin typeface="Tahoma"/>
                <a:cs typeface="Tahoma"/>
              </a:rPr>
              <a:t>expected</a:t>
            </a:r>
            <a:r>
              <a:rPr sz="1100" spc="-2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given</a:t>
            </a:r>
            <a:r>
              <a:rPr sz="1100" spc="-2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a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set</a:t>
            </a:r>
            <a:r>
              <a:rPr sz="1100" spc="-2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of</a:t>
            </a:r>
            <a:r>
              <a:rPr sz="1100" spc="-2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predictors</a:t>
            </a:r>
            <a:r>
              <a:rPr sz="1100" spc="-35" dirty="0">
                <a:latin typeface="Tahoma"/>
                <a:cs typeface="Tahoma"/>
              </a:rPr>
              <a:t>.</a:t>
            </a:r>
            <a:r>
              <a:rPr sz="1100" spc="8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Ex: </a:t>
            </a:r>
            <a:r>
              <a:rPr sz="1100" dirty="0">
                <a:latin typeface="Tahoma"/>
                <a:cs typeface="Tahoma"/>
              </a:rPr>
              <a:t>What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incom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expected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for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given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level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35" dirty="0">
                <a:latin typeface="Tahoma"/>
                <a:cs typeface="Tahoma"/>
              </a:rPr>
              <a:t> education and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seniority?</a:t>
            </a:r>
            <a:endParaRPr sz="1100">
              <a:latin typeface="Tahoma"/>
              <a:cs typeface="Tahoma"/>
            </a:endParaRPr>
          </a:p>
          <a:p>
            <a:pPr marL="289560" marR="5080">
              <a:lnSpc>
                <a:spcPct val="102699"/>
              </a:lnSpc>
              <a:spcBef>
                <a:spcPts val="680"/>
              </a:spcBef>
            </a:pPr>
            <a:r>
              <a:rPr sz="1100" spc="-135" dirty="0">
                <a:latin typeface="Arial Black"/>
                <a:cs typeface="Arial Black"/>
              </a:rPr>
              <a:t>Inference</a:t>
            </a:r>
            <a:r>
              <a:rPr sz="1100" spc="-10" dirty="0">
                <a:latin typeface="Arial Black"/>
                <a:cs typeface="Arial Black"/>
              </a:rPr>
              <a:t> </a:t>
            </a:r>
            <a:r>
              <a:rPr sz="1100" dirty="0">
                <a:latin typeface="Tahoma"/>
                <a:cs typeface="Tahoma"/>
              </a:rPr>
              <a:t>We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want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understand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55" dirty="0">
                <a:solidFill>
                  <a:srgbClr val="FF0000"/>
                </a:solidFill>
                <a:latin typeface="Tahoma"/>
                <a:cs typeface="Tahoma"/>
              </a:rPr>
              <a:t>how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the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65" dirty="0">
                <a:solidFill>
                  <a:srgbClr val="FF0000"/>
                </a:solidFill>
                <a:latin typeface="Tahoma"/>
                <a:cs typeface="Tahoma"/>
              </a:rPr>
              <a:t>response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variable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is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affected</a:t>
            </a:r>
            <a:r>
              <a:rPr sz="1100" spc="-2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by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65" dirty="0">
                <a:solidFill>
                  <a:srgbClr val="FF0000"/>
                </a:solidFill>
                <a:latin typeface="Tahoma"/>
                <a:cs typeface="Tahoma"/>
              </a:rPr>
              <a:t>changes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in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25" dirty="0">
                <a:solidFill>
                  <a:srgbClr val="FF0000"/>
                </a:solidFill>
                <a:latin typeface="Tahoma"/>
                <a:cs typeface="Tahoma"/>
              </a:rPr>
              <a:t>the 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predictors</a:t>
            </a:r>
            <a:r>
              <a:rPr sz="1100" spc="-35" dirty="0">
                <a:latin typeface="Tahoma"/>
                <a:cs typeface="Tahoma"/>
              </a:rPr>
              <a:t>.</a:t>
            </a:r>
            <a:r>
              <a:rPr sz="1100" spc="6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Ex:</a:t>
            </a:r>
            <a:r>
              <a:rPr sz="1100" spc="6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what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extent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45" dirty="0">
                <a:latin typeface="Tahoma"/>
                <a:cs typeface="Tahoma"/>
              </a:rPr>
              <a:t> income</a:t>
            </a:r>
            <a:r>
              <a:rPr sz="1100" spc="-40" dirty="0">
                <a:latin typeface="Tahoma"/>
                <a:cs typeface="Tahoma"/>
              </a:rPr>
              <a:t> associated </a:t>
            </a:r>
            <a:r>
              <a:rPr sz="1100" dirty="0">
                <a:latin typeface="Tahoma"/>
                <a:cs typeface="Tahoma"/>
              </a:rPr>
              <a:t>with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education?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5" name="object 5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9" name="object 9"/>
          <p:cNvSpPr txBox="1"/>
          <p:nvPr/>
        </p:nvSpPr>
        <p:spPr>
          <a:xfrm>
            <a:off x="2194839" y="3106011"/>
            <a:ext cx="13703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6.1:</a:t>
            </a:r>
            <a:r>
              <a:rPr sz="600" spc="1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Introduction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to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Statistical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0" name="object 10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7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3</a:t>
            </a:r>
          </a:p>
        </p:txBody>
      </p:sp>
    </p:spTree>
  </p:cSld>
  <p:clrMapOvr>
    <a:masterClrMapping/>
  </p:clrMapOvr>
  <p:transition>
    <p:cut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20" dirty="0"/>
              <a:t>Prediction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87744" y="569264"/>
            <a:ext cx="5478145" cy="227139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50165" marR="17780">
              <a:lnSpc>
                <a:spcPct val="102600"/>
              </a:lnSpc>
              <a:spcBef>
                <a:spcPts val="90"/>
              </a:spcBef>
            </a:pPr>
            <a:r>
              <a:rPr sz="1100" spc="-10" dirty="0">
                <a:latin typeface="Tahoma"/>
                <a:cs typeface="Tahoma"/>
              </a:rPr>
              <a:t>Prediction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problem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often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aris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when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predictor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variables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210" dirty="0">
                <a:solidFill>
                  <a:srgbClr val="FF0000"/>
                </a:solidFill>
                <a:latin typeface="Cambria"/>
                <a:cs typeface="Cambria"/>
              </a:rPr>
              <a:t>𝑋</a:t>
            </a:r>
            <a:r>
              <a:rPr sz="1100" spc="120" dirty="0">
                <a:solidFill>
                  <a:srgbClr val="FF0000"/>
                </a:solidFill>
                <a:latin typeface="Cambria"/>
                <a:cs typeface="Cambria"/>
              </a:rPr>
              <a:t> </a:t>
            </a:r>
            <a:r>
              <a:rPr sz="1100" spc="-55" dirty="0">
                <a:solidFill>
                  <a:srgbClr val="FF0000"/>
                </a:solidFill>
                <a:latin typeface="Tahoma"/>
                <a:cs typeface="Tahoma"/>
              </a:rPr>
              <a:t>are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45" dirty="0">
                <a:solidFill>
                  <a:srgbClr val="FF0000"/>
                </a:solidFill>
                <a:latin typeface="Tahoma"/>
                <a:cs typeface="Tahoma"/>
              </a:rPr>
              <a:t>known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but</a:t>
            </a:r>
            <a:r>
              <a:rPr sz="1100" spc="-2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the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65" dirty="0">
                <a:solidFill>
                  <a:srgbClr val="FF0000"/>
                </a:solidFill>
                <a:latin typeface="Tahoma"/>
                <a:cs typeface="Tahoma"/>
              </a:rPr>
              <a:t>response</a:t>
            </a:r>
            <a:r>
              <a:rPr sz="1100" spc="-2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50" dirty="0">
                <a:solidFill>
                  <a:srgbClr val="FF0000"/>
                </a:solidFill>
                <a:latin typeface="Cambria"/>
                <a:cs typeface="Cambria"/>
              </a:rPr>
              <a:t>𝑌</a:t>
            </a:r>
            <a:r>
              <a:rPr sz="1100" dirty="0">
                <a:solidFill>
                  <a:srgbClr val="FF0000"/>
                </a:solidFill>
                <a:latin typeface="Cambria"/>
                <a:cs typeface="Cambria"/>
              </a:rPr>
              <a:t>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is</a:t>
            </a:r>
            <a:r>
              <a:rPr sz="1100" spc="-7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not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easily</a:t>
            </a:r>
            <a:r>
              <a:rPr sz="1100" spc="-4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obtained</a:t>
            </a:r>
            <a:r>
              <a:rPr sz="1100" spc="-30" dirty="0">
                <a:latin typeface="Tahoma"/>
                <a:cs typeface="Tahoma"/>
              </a:rPr>
              <a:t>.</a:t>
            </a:r>
            <a:r>
              <a:rPr sz="1100" spc="6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Recall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general</a:t>
            </a:r>
            <a:r>
              <a:rPr sz="1100" spc="-40" dirty="0">
                <a:latin typeface="Tahoma"/>
                <a:cs typeface="Tahoma"/>
              </a:rPr>
              <a:t> form </a:t>
            </a:r>
            <a:r>
              <a:rPr sz="1100" spc="-20" dirty="0">
                <a:latin typeface="Tahoma"/>
                <a:cs typeface="Tahoma"/>
              </a:rPr>
              <a:t>for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relationship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between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predictor </a:t>
            </a:r>
            <a:r>
              <a:rPr sz="1100" spc="-25" dirty="0">
                <a:latin typeface="Tahoma"/>
                <a:cs typeface="Tahoma"/>
              </a:rPr>
              <a:t>and </a:t>
            </a:r>
            <a:r>
              <a:rPr sz="1100" spc="-65" dirty="0">
                <a:latin typeface="Tahoma"/>
                <a:cs typeface="Tahoma"/>
              </a:rPr>
              <a:t>response</a:t>
            </a:r>
            <a:r>
              <a:rPr sz="1100" spc="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variables</a:t>
            </a:r>
            <a:endParaRPr sz="1100" dirty="0">
              <a:latin typeface="Tahoma"/>
              <a:cs typeface="Tahoma"/>
            </a:endParaRPr>
          </a:p>
          <a:p>
            <a:pPr>
              <a:lnSpc>
                <a:spcPct val="100000"/>
              </a:lnSpc>
              <a:spcBef>
                <a:spcPts val="735"/>
              </a:spcBef>
            </a:pPr>
            <a:endParaRPr sz="1100" dirty="0">
              <a:latin typeface="Tahoma"/>
              <a:cs typeface="Tahoma"/>
            </a:endParaRPr>
          </a:p>
          <a:p>
            <a:pPr marL="106045" algn="ctr">
              <a:lnSpc>
                <a:spcPct val="100000"/>
              </a:lnSpc>
              <a:spcBef>
                <a:spcPts val="5"/>
              </a:spcBef>
            </a:pPr>
            <a:r>
              <a:rPr sz="1100" dirty="0">
                <a:latin typeface="Cambria"/>
                <a:cs typeface="Cambria"/>
              </a:rPr>
              <a:t>𝑌</a:t>
            </a:r>
            <a:r>
              <a:rPr sz="1100" spc="29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75" dirty="0">
                <a:latin typeface="Cambria"/>
                <a:cs typeface="Cambria"/>
              </a:rPr>
              <a:t> </a:t>
            </a:r>
            <a:r>
              <a:rPr sz="1100" spc="80" dirty="0">
                <a:latin typeface="Cambria"/>
                <a:cs typeface="Cambria"/>
              </a:rPr>
              <a:t>𝑓(𝑋)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+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-50" dirty="0">
                <a:latin typeface="Cambria"/>
                <a:cs typeface="Cambria"/>
              </a:rPr>
              <a:t>𝜖</a:t>
            </a:r>
            <a:endParaRPr sz="1100" dirty="0">
              <a:latin typeface="Cambria"/>
              <a:cs typeface="Cambria"/>
            </a:endParaRPr>
          </a:p>
          <a:p>
            <a:pPr>
              <a:lnSpc>
                <a:spcPct val="100000"/>
              </a:lnSpc>
              <a:spcBef>
                <a:spcPts val="65"/>
              </a:spcBef>
            </a:pPr>
            <a:endParaRPr sz="1100" dirty="0">
              <a:latin typeface="Cambria"/>
              <a:cs typeface="Cambria"/>
            </a:endParaRPr>
          </a:p>
          <a:p>
            <a:pPr marL="50800">
              <a:lnSpc>
                <a:spcPct val="100000"/>
              </a:lnSpc>
              <a:spcBef>
                <a:spcPts val="5"/>
              </a:spcBef>
            </a:pPr>
            <a:r>
              <a:rPr sz="1100" spc="-25" dirty="0">
                <a:latin typeface="Tahoma"/>
                <a:cs typeface="Tahoma"/>
              </a:rPr>
              <a:t>Since</a:t>
            </a:r>
            <a:r>
              <a:rPr sz="1100" spc="-6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error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term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Cambria"/>
                <a:cs typeface="Cambria"/>
              </a:rPr>
              <a:t>𝜖</a:t>
            </a:r>
            <a:r>
              <a:rPr sz="1100" spc="75" dirty="0">
                <a:latin typeface="Cambria"/>
                <a:cs typeface="Cambria"/>
              </a:rPr>
              <a:t> </a:t>
            </a:r>
            <a:r>
              <a:rPr sz="1100" spc="-60" dirty="0">
                <a:latin typeface="Tahoma"/>
                <a:cs typeface="Tahoma"/>
              </a:rPr>
              <a:t>average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zero,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95" dirty="0">
                <a:latin typeface="Tahoma"/>
                <a:cs typeface="Tahoma"/>
              </a:rPr>
              <a:t>w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can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go </a:t>
            </a:r>
            <a:r>
              <a:rPr sz="1100" spc="-20" dirty="0">
                <a:latin typeface="Tahoma"/>
                <a:cs typeface="Tahoma"/>
              </a:rPr>
              <a:t>about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predicting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Cambria"/>
                <a:cs typeface="Cambria"/>
              </a:rPr>
              <a:t>𝑌</a:t>
            </a:r>
            <a:r>
              <a:rPr sz="1100" spc="275" dirty="0">
                <a:latin typeface="Cambria"/>
                <a:cs typeface="Cambria"/>
              </a:rPr>
              <a:t> </a:t>
            </a:r>
            <a:r>
              <a:rPr sz="1100" spc="-10" dirty="0">
                <a:latin typeface="Tahoma"/>
                <a:cs typeface="Tahoma"/>
              </a:rPr>
              <a:t>using</a:t>
            </a:r>
            <a:endParaRPr sz="1100" dirty="0">
              <a:latin typeface="Tahoma"/>
              <a:cs typeface="Tahoma"/>
            </a:endParaRPr>
          </a:p>
          <a:p>
            <a:pPr>
              <a:lnSpc>
                <a:spcPct val="100000"/>
              </a:lnSpc>
              <a:spcBef>
                <a:spcPts val="735"/>
              </a:spcBef>
            </a:pPr>
            <a:endParaRPr sz="1100" dirty="0">
              <a:latin typeface="Tahoma"/>
              <a:cs typeface="Tahoma"/>
            </a:endParaRPr>
          </a:p>
          <a:p>
            <a:pPr marL="106045" algn="ctr">
              <a:lnSpc>
                <a:spcPct val="100000"/>
              </a:lnSpc>
              <a:spcBef>
                <a:spcPts val="5"/>
              </a:spcBef>
            </a:pPr>
            <a:r>
              <a:rPr sz="1100" dirty="0">
                <a:latin typeface="Cambria"/>
                <a:cs typeface="Cambria"/>
              </a:rPr>
              <a:t>𝑌</a:t>
            </a:r>
            <a:r>
              <a:rPr sz="1650" baseline="12626" dirty="0">
                <a:latin typeface="Cambria"/>
                <a:cs typeface="Cambria"/>
              </a:rPr>
              <a:t>̂</a:t>
            </a:r>
            <a:r>
              <a:rPr sz="1650" spc="359" baseline="12626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105" dirty="0">
                <a:latin typeface="Cambria"/>
                <a:cs typeface="Cambria"/>
              </a:rPr>
              <a:t> </a:t>
            </a:r>
            <a:r>
              <a:rPr sz="1100" spc="-60" dirty="0">
                <a:latin typeface="Cambria"/>
                <a:cs typeface="Cambria"/>
              </a:rPr>
              <a:t>𝑓</a:t>
            </a:r>
            <a:r>
              <a:rPr sz="1100" spc="-135" dirty="0">
                <a:latin typeface="Cambria"/>
                <a:cs typeface="Cambria"/>
              </a:rPr>
              <a:t> </a:t>
            </a:r>
            <a:r>
              <a:rPr sz="1100" spc="70" dirty="0">
                <a:latin typeface="Cambria"/>
                <a:cs typeface="Cambria"/>
              </a:rPr>
              <a:t>(𝑋)</a:t>
            </a:r>
            <a:endParaRPr sz="1100" dirty="0">
              <a:latin typeface="Cambria"/>
              <a:cs typeface="Cambria"/>
            </a:endParaRPr>
          </a:p>
          <a:p>
            <a:pPr>
              <a:lnSpc>
                <a:spcPct val="100000"/>
              </a:lnSpc>
              <a:spcBef>
                <a:spcPts val="165"/>
              </a:spcBef>
            </a:pPr>
            <a:endParaRPr sz="1100" dirty="0">
              <a:latin typeface="Cambria"/>
              <a:cs typeface="Cambria"/>
            </a:endParaRPr>
          </a:p>
          <a:p>
            <a:pPr marL="50800" marR="366395">
              <a:lnSpc>
                <a:spcPct val="102600"/>
              </a:lnSpc>
              <a:spcBef>
                <a:spcPts val="5"/>
              </a:spcBef>
            </a:pPr>
            <a:r>
              <a:rPr sz="1100" dirty="0">
                <a:latin typeface="Tahoma"/>
                <a:cs typeface="Tahoma"/>
              </a:rPr>
              <a:t>W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use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70" dirty="0">
                <a:latin typeface="Tahoma"/>
                <a:cs typeface="Tahoma"/>
              </a:rPr>
              <a:t>”</a:t>
            </a:r>
            <a:r>
              <a:rPr lang="en-US" sz="1100" spc="70" dirty="0">
                <a:latin typeface="Tahoma"/>
                <a:cs typeface="Tahoma"/>
              </a:rPr>
              <a:t>^</a:t>
            </a:r>
            <a:r>
              <a:rPr sz="1100" spc="70" dirty="0">
                <a:latin typeface="Tahoma"/>
                <a:cs typeface="Tahoma"/>
              </a:rPr>
              <a:t>”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denot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estimates.</a:t>
            </a:r>
            <a:r>
              <a:rPr sz="1100" spc="9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hat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s,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Cambria"/>
                <a:cs typeface="Cambria"/>
              </a:rPr>
              <a:t>𝑌</a:t>
            </a:r>
            <a:r>
              <a:rPr sz="1650" baseline="12626" dirty="0">
                <a:latin typeface="Cambria"/>
                <a:cs typeface="Cambria"/>
              </a:rPr>
              <a:t>̂</a:t>
            </a:r>
            <a:r>
              <a:rPr sz="1650" spc="315" baseline="12626" dirty="0">
                <a:latin typeface="Cambria"/>
                <a:cs typeface="Cambri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an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estimate</a:t>
            </a:r>
            <a:r>
              <a:rPr sz="1100" spc="-20" dirty="0">
                <a:latin typeface="Tahoma"/>
                <a:cs typeface="Tahoma"/>
              </a:rPr>
              <a:t> for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dirty="0">
                <a:latin typeface="Cambria"/>
                <a:cs typeface="Cambria"/>
              </a:rPr>
              <a:t>𝑌</a:t>
            </a:r>
            <a:r>
              <a:rPr sz="1100" spc="290" dirty="0">
                <a:latin typeface="Cambria"/>
                <a:cs typeface="Cambria"/>
              </a:rPr>
              <a:t> </a:t>
            </a:r>
            <a:r>
              <a:rPr sz="1100" spc="-35" dirty="0">
                <a:latin typeface="Tahoma"/>
                <a:cs typeface="Tahoma"/>
              </a:rPr>
              <a:t>and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dirty="0">
                <a:latin typeface="Cambria"/>
                <a:cs typeface="Cambria"/>
              </a:rPr>
              <a:t>𝑓 </a:t>
            </a:r>
            <a:r>
              <a:rPr sz="1650" baseline="15151" dirty="0">
                <a:latin typeface="Cambria"/>
                <a:cs typeface="Cambria"/>
              </a:rPr>
              <a:t>̂</a:t>
            </a:r>
            <a:r>
              <a:rPr sz="1650" spc="-89" baseline="15151" dirty="0">
                <a:latin typeface="Cambria"/>
                <a:cs typeface="Cambri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an </a:t>
            </a:r>
            <a:r>
              <a:rPr sz="1100" spc="-30" dirty="0">
                <a:latin typeface="Tahoma"/>
                <a:cs typeface="Tahoma"/>
              </a:rPr>
              <a:t>estimate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for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60" dirty="0">
                <a:latin typeface="Cambria"/>
                <a:cs typeface="Cambria"/>
              </a:rPr>
              <a:t>𝑓</a:t>
            </a:r>
            <a:r>
              <a:rPr sz="1100" spc="-145" dirty="0">
                <a:latin typeface="Cambria"/>
                <a:cs typeface="Cambria"/>
              </a:rPr>
              <a:t> </a:t>
            </a:r>
            <a:r>
              <a:rPr sz="1100" spc="-50" dirty="0">
                <a:latin typeface="Tahoma"/>
                <a:cs typeface="Tahoma"/>
              </a:rPr>
              <a:t>.</a:t>
            </a:r>
            <a:endParaRPr sz="1100" dirty="0">
              <a:latin typeface="Tahoma"/>
              <a:cs typeface="Tahoma"/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5" name="object 5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9" name="object 9"/>
          <p:cNvSpPr txBox="1"/>
          <p:nvPr/>
        </p:nvSpPr>
        <p:spPr>
          <a:xfrm>
            <a:off x="2194839" y="3106011"/>
            <a:ext cx="13703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6.1:</a:t>
            </a:r>
            <a:r>
              <a:rPr sz="600" spc="1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Introduction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to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Statistical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0" name="object 10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8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3</a:t>
            </a:r>
          </a:p>
        </p:txBody>
      </p:sp>
    </p:spTree>
  </p:cSld>
  <p:clrMapOvr>
    <a:masterClrMapping/>
  </p:clrMapOvr>
  <p:transition>
    <p:cut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20" dirty="0"/>
              <a:t>Prediction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00444" y="924618"/>
            <a:ext cx="5559425" cy="1247140"/>
          </a:xfrm>
          <a:prstGeom prst="rect">
            <a:avLst/>
          </a:prstGeom>
        </p:spPr>
        <p:txBody>
          <a:bodyPr vert="horz" wrap="square" lIns="0" tIns="102235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805"/>
              </a:spcBef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accuracy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our</a:t>
            </a:r>
            <a:r>
              <a:rPr sz="1100" spc="-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prediction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dirty="0">
                <a:latin typeface="Cambria"/>
                <a:cs typeface="Cambria"/>
              </a:rPr>
              <a:t>𝑌</a:t>
            </a:r>
            <a:r>
              <a:rPr sz="1650" baseline="12626" dirty="0">
                <a:latin typeface="Cambria"/>
                <a:cs typeface="Cambria"/>
              </a:rPr>
              <a:t>̂</a:t>
            </a:r>
            <a:r>
              <a:rPr sz="1650" spc="337" baseline="12626" dirty="0">
                <a:latin typeface="Cambria"/>
                <a:cs typeface="Cambria"/>
              </a:rPr>
              <a:t> </a:t>
            </a:r>
            <a:r>
              <a:rPr sz="1100" spc="-65" dirty="0">
                <a:latin typeface="Tahoma"/>
                <a:cs typeface="Tahoma"/>
              </a:rPr>
              <a:t>depends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on:</a:t>
            </a:r>
            <a:endParaRPr sz="1100" dirty="0">
              <a:latin typeface="Tahoma"/>
              <a:cs typeface="Tahoma"/>
            </a:endParaRPr>
          </a:p>
          <a:p>
            <a:pPr marL="314960" marR="133985">
              <a:lnSpc>
                <a:spcPct val="102600"/>
              </a:lnSpc>
              <a:spcBef>
                <a:spcPts val="680"/>
              </a:spcBef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-90" dirty="0">
                <a:latin typeface="Tahoma"/>
                <a:cs typeface="Tahoma"/>
              </a:rPr>
              <a:t> </a:t>
            </a:r>
            <a:r>
              <a:rPr sz="1100" spc="-145" dirty="0">
                <a:latin typeface="Arial Black"/>
                <a:cs typeface="Arial Black"/>
              </a:rPr>
              <a:t>reducible</a:t>
            </a:r>
            <a:r>
              <a:rPr sz="1100" spc="30" dirty="0">
                <a:latin typeface="Arial Black"/>
                <a:cs typeface="Arial Black"/>
              </a:rPr>
              <a:t> </a:t>
            </a:r>
            <a:r>
              <a:rPr sz="1100" spc="-95" dirty="0">
                <a:latin typeface="Arial Black"/>
                <a:cs typeface="Arial Black"/>
              </a:rPr>
              <a:t>error</a:t>
            </a:r>
            <a:r>
              <a:rPr sz="1100" spc="-95" dirty="0">
                <a:latin typeface="Tahoma"/>
                <a:cs typeface="Tahoma"/>
              </a:rPr>
              <a:t>:</a:t>
            </a:r>
            <a:r>
              <a:rPr sz="1100" spc="8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error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n</a:t>
            </a:r>
            <a:r>
              <a:rPr sz="1100" spc="-30" dirty="0">
                <a:latin typeface="Tahoma"/>
                <a:cs typeface="Tahoma"/>
              </a:rPr>
              <a:t> our estimat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60" dirty="0">
                <a:latin typeface="Cambria"/>
                <a:cs typeface="Cambria"/>
              </a:rPr>
              <a:t>𝑓</a:t>
            </a:r>
            <a:r>
              <a:rPr sz="1100" spc="-145" dirty="0">
                <a:latin typeface="Cambria"/>
                <a:cs typeface="Cambria"/>
              </a:rPr>
              <a:t> </a:t>
            </a:r>
            <a:r>
              <a:rPr sz="1100" dirty="0">
                <a:latin typeface="Tahoma"/>
                <a:cs typeface="Tahoma"/>
              </a:rPr>
              <a:t>.</a:t>
            </a:r>
            <a:r>
              <a:rPr sz="1650" baseline="15151" dirty="0">
                <a:latin typeface="Cambria"/>
                <a:cs typeface="Cambria"/>
              </a:rPr>
              <a:t>̂</a:t>
            </a:r>
            <a:r>
              <a:rPr sz="1650" spc="434" baseline="15151" dirty="0">
                <a:latin typeface="Cambria"/>
                <a:cs typeface="Cambria"/>
              </a:rPr>
              <a:t> </a:t>
            </a:r>
            <a:r>
              <a:rPr sz="1100" dirty="0">
                <a:latin typeface="Tahoma"/>
                <a:cs typeface="Tahoma"/>
              </a:rPr>
              <a:t>Thi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error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reducibl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since</a:t>
            </a:r>
            <a:r>
              <a:rPr sz="1100" spc="-25" dirty="0">
                <a:latin typeface="Tahoma"/>
                <a:cs typeface="Tahoma"/>
              </a:rPr>
              <a:t> estimates </a:t>
            </a:r>
            <a:r>
              <a:rPr sz="1100" spc="-20" dirty="0">
                <a:latin typeface="Tahoma"/>
                <a:cs typeface="Tahoma"/>
              </a:rPr>
              <a:t>can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alway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b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improved.</a:t>
            </a:r>
            <a:endParaRPr sz="1100" dirty="0">
              <a:latin typeface="Tahoma"/>
              <a:cs typeface="Tahoma"/>
            </a:endParaRPr>
          </a:p>
          <a:p>
            <a:pPr marL="314960">
              <a:lnSpc>
                <a:spcPct val="100000"/>
              </a:lnSpc>
              <a:spcBef>
                <a:spcPts val="35"/>
              </a:spcBef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30" dirty="0">
                <a:latin typeface="Arial Black"/>
                <a:cs typeface="Arial Black"/>
              </a:rPr>
              <a:t>irreducible</a:t>
            </a:r>
            <a:r>
              <a:rPr sz="1100" spc="20" dirty="0">
                <a:latin typeface="Arial Black"/>
                <a:cs typeface="Arial Black"/>
              </a:rPr>
              <a:t> </a:t>
            </a:r>
            <a:r>
              <a:rPr sz="1100" spc="-105" dirty="0">
                <a:latin typeface="Arial Black"/>
                <a:cs typeface="Arial Black"/>
              </a:rPr>
              <a:t>error</a:t>
            </a:r>
            <a:r>
              <a:rPr sz="1100" spc="-105" dirty="0">
                <a:latin typeface="Tahoma"/>
                <a:cs typeface="Tahoma"/>
              </a:rPr>
              <a:t>:</a:t>
            </a:r>
            <a:r>
              <a:rPr sz="1100" spc="11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 </a:t>
            </a:r>
            <a:r>
              <a:rPr sz="1100" spc="-50" dirty="0">
                <a:latin typeface="Tahoma"/>
                <a:cs typeface="Tahoma"/>
              </a:rPr>
              <a:t>random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error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associated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with</a:t>
            </a:r>
            <a:r>
              <a:rPr sz="1100" spc="-10" dirty="0">
                <a:latin typeface="Tahoma"/>
                <a:cs typeface="Tahoma"/>
              </a:rPr>
              <a:t> the </a:t>
            </a:r>
            <a:r>
              <a:rPr sz="1100" spc="-20" dirty="0">
                <a:latin typeface="Tahoma"/>
                <a:cs typeface="Tahoma"/>
              </a:rPr>
              <a:t>true</a:t>
            </a:r>
            <a:r>
              <a:rPr sz="1100" spc="-5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response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dirty="0">
                <a:latin typeface="Cambria"/>
                <a:cs typeface="Cambria"/>
              </a:rPr>
              <a:t>𝑌</a:t>
            </a:r>
            <a:r>
              <a:rPr sz="1100" spc="270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6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𝑓(𝑥)</a:t>
            </a:r>
            <a:r>
              <a:rPr sz="1100" spc="-30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+</a:t>
            </a:r>
            <a:r>
              <a:rPr sz="1100" spc="-30" dirty="0">
                <a:latin typeface="Cambria"/>
                <a:cs typeface="Cambria"/>
              </a:rPr>
              <a:t> </a:t>
            </a:r>
            <a:r>
              <a:rPr sz="1100" spc="-25" dirty="0">
                <a:latin typeface="Cambria"/>
                <a:cs typeface="Cambria"/>
              </a:rPr>
              <a:t>𝜖</a:t>
            </a:r>
            <a:r>
              <a:rPr sz="1100" spc="-25" dirty="0">
                <a:latin typeface="Tahoma"/>
                <a:cs typeface="Tahoma"/>
              </a:rPr>
              <a:t>.</a:t>
            </a:r>
            <a:endParaRPr sz="1100" dirty="0">
              <a:latin typeface="Tahoma"/>
              <a:cs typeface="Tahoma"/>
            </a:endParaRPr>
          </a:p>
          <a:p>
            <a:pPr marL="314960" marR="427355">
              <a:lnSpc>
                <a:spcPct val="102600"/>
              </a:lnSpc>
              <a:spcBef>
                <a:spcPts val="135"/>
              </a:spcBef>
            </a:pPr>
            <a:r>
              <a:rPr sz="1100" spc="-20" dirty="0">
                <a:latin typeface="Tahoma"/>
                <a:cs typeface="Tahoma"/>
              </a:rPr>
              <a:t>(Even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f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dirty="0">
                <a:latin typeface="Cambria"/>
                <a:cs typeface="Cambria"/>
              </a:rPr>
              <a:t>𝑓 </a:t>
            </a:r>
            <a:r>
              <a:rPr sz="1650" spc="292" baseline="15151" dirty="0">
                <a:latin typeface="Cambria"/>
                <a:cs typeface="Cambria"/>
              </a:rPr>
              <a:t>̂</a:t>
            </a:r>
            <a:r>
              <a:rPr sz="1100" spc="195" dirty="0">
                <a:latin typeface="Cambria"/>
                <a:cs typeface="Cambria"/>
              </a:rPr>
              <a:t>=</a:t>
            </a:r>
            <a:r>
              <a:rPr sz="1100" spc="45" dirty="0">
                <a:latin typeface="Cambria"/>
                <a:cs typeface="Cambria"/>
              </a:rPr>
              <a:t> </a:t>
            </a:r>
            <a:r>
              <a:rPr sz="1100" spc="-60" dirty="0">
                <a:latin typeface="Cambria"/>
                <a:cs typeface="Cambria"/>
              </a:rPr>
              <a:t>𝑓</a:t>
            </a:r>
            <a:r>
              <a:rPr sz="1100" spc="-145" dirty="0">
                <a:latin typeface="Cambria"/>
                <a:cs typeface="Cambria"/>
              </a:rPr>
              <a:t> </a:t>
            </a:r>
            <a:r>
              <a:rPr sz="1100" dirty="0">
                <a:latin typeface="Tahoma"/>
                <a:cs typeface="Tahoma"/>
              </a:rPr>
              <a:t>,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Cambria"/>
                <a:cs typeface="Cambria"/>
              </a:rPr>
              <a:t>𝑌</a:t>
            </a:r>
            <a:r>
              <a:rPr sz="1650" baseline="12626" dirty="0">
                <a:latin typeface="Cambria"/>
                <a:cs typeface="Cambria"/>
              </a:rPr>
              <a:t>̂</a:t>
            </a:r>
            <a:r>
              <a:rPr sz="1650" spc="322" baseline="12626" dirty="0">
                <a:latin typeface="Cambria"/>
                <a:cs typeface="Cambria"/>
              </a:rPr>
              <a:t> </a:t>
            </a:r>
            <a:r>
              <a:rPr sz="1100" dirty="0">
                <a:latin typeface="Tahoma"/>
                <a:cs typeface="Tahoma"/>
              </a:rPr>
              <a:t>will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still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hav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error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associated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with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ts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prediction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since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dirty="0">
                <a:latin typeface="Cambria"/>
                <a:cs typeface="Cambria"/>
              </a:rPr>
              <a:t>𝜖</a:t>
            </a:r>
            <a:r>
              <a:rPr sz="1100" spc="85" dirty="0">
                <a:latin typeface="Cambria"/>
                <a:cs typeface="Cambri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not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a </a:t>
            </a:r>
            <a:r>
              <a:rPr sz="1100" spc="-25" dirty="0">
                <a:latin typeface="Tahoma"/>
                <a:cs typeface="Tahoma"/>
              </a:rPr>
              <a:t>function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50" dirty="0">
                <a:latin typeface="Cambria"/>
                <a:cs typeface="Cambria"/>
              </a:rPr>
              <a:t>𝑋</a:t>
            </a:r>
            <a:r>
              <a:rPr sz="1100" spc="50" dirty="0">
                <a:latin typeface="Tahoma"/>
                <a:cs typeface="Tahoma"/>
              </a:rPr>
              <a:t>.)</a:t>
            </a:r>
            <a:endParaRPr sz="1100" dirty="0">
              <a:latin typeface="Tahoma"/>
              <a:cs typeface="Tahoma"/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5" name="object 5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9" name="object 9"/>
          <p:cNvSpPr txBox="1"/>
          <p:nvPr/>
        </p:nvSpPr>
        <p:spPr>
          <a:xfrm>
            <a:off x="2194839" y="3106011"/>
            <a:ext cx="13703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6.1:</a:t>
            </a:r>
            <a:r>
              <a:rPr sz="600" spc="1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Introduction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to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Statistical</a:t>
            </a:r>
            <a:r>
              <a:rPr sz="600" spc="3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0" name="object 10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9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3</a:t>
            </a:r>
          </a:p>
        </p:txBody>
      </p:sp>
    </p:spTree>
  </p:cSld>
  <p:clrMapOvr>
    <a:masterClrMapping/>
  </p:clrMapOvr>
  <p:transition>
    <p:cut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FFFF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</TotalTime>
  <Words>2565</Words>
  <Application>Microsoft Office PowerPoint</Application>
  <PresentationFormat>Custom</PresentationFormat>
  <Paragraphs>216</Paragraphs>
  <Slides>2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2" baseType="lpstr">
      <vt:lpstr>Arial Black</vt:lpstr>
      <vt:lpstr>Calibri</vt:lpstr>
      <vt:lpstr>Cambria</vt:lpstr>
      <vt:lpstr>Palatino Linotype</vt:lpstr>
      <vt:lpstr>Tahoma</vt:lpstr>
      <vt:lpstr>Office Theme</vt:lpstr>
      <vt:lpstr>think-cell Slide</vt:lpstr>
      <vt:lpstr>PowerPoint Presentation</vt:lpstr>
      <vt:lpstr>Welcome! </vt:lpstr>
      <vt:lpstr>Class Norms </vt:lpstr>
      <vt:lpstr>What is Statistical Learning?</vt:lpstr>
      <vt:lpstr>What is Statistical Learning?</vt:lpstr>
      <vt:lpstr>What is Statistical Learning?</vt:lpstr>
      <vt:lpstr>Prediction vs Inference</vt:lpstr>
      <vt:lpstr>Prediction</vt:lpstr>
      <vt:lpstr>Prediction</vt:lpstr>
      <vt:lpstr>Inference</vt:lpstr>
      <vt:lpstr>How do we Estimate 𝑓?</vt:lpstr>
      <vt:lpstr>Parametric Methods</vt:lpstr>
      <vt:lpstr>Non-Parametric Methods</vt:lpstr>
      <vt:lpstr>Accuracy-Interpretability Trade-Off</vt:lpstr>
      <vt:lpstr>Supervised vs Unsupervised Learning</vt:lpstr>
      <vt:lpstr>Regression vs Classification Problems</vt:lpstr>
      <vt:lpstr>Assessing Model Accuracy</vt:lpstr>
      <vt:lpstr>Assessing Model Accuracy</vt:lpstr>
      <vt:lpstr>Assessing Model Accuracy</vt:lpstr>
      <vt:lpstr>The Bias-Variance Trade-Off</vt:lpstr>
      <vt:lpstr>The Bias-Variance Trade-Off</vt:lpstr>
      <vt:lpstr>The Bias-Variance Trade-Off</vt:lpstr>
      <vt:lpstr>The Bias-Variance Trade-Off</vt:lpstr>
      <vt:lpstr>Classification Model Accuracy</vt:lpstr>
      <vt:lpstr>Referen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6.1: Introduction to Statistical Learning</dc:title>
  <dc:creator>Navona Calarco</dc:creator>
  <cp:lastModifiedBy>Ebrahim, Kamilah</cp:lastModifiedBy>
  <cp:revision>1</cp:revision>
  <dcterms:created xsi:type="dcterms:W3CDTF">2023-12-26T18:51:01Z</dcterms:created>
  <dcterms:modified xsi:type="dcterms:W3CDTF">2023-12-26T23:47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3-11-02T00:00:00Z</vt:filetime>
  </property>
  <property fmtid="{D5CDD505-2E9C-101B-9397-08002B2CF9AE}" pid="3" name="Creator">
    <vt:lpwstr>LaTeX via pandoc</vt:lpwstr>
  </property>
  <property fmtid="{D5CDD505-2E9C-101B-9397-08002B2CF9AE}" pid="4" name="Producer">
    <vt:lpwstr>xdvipdfmx (20220710)</vt:lpwstr>
  </property>
  <property fmtid="{D5CDD505-2E9C-101B-9397-08002B2CF9AE}" pid="5" name="LastSaved">
    <vt:filetime>2023-11-02T00:00:00Z</vt:filetime>
  </property>
  <property fmtid="{D5CDD505-2E9C-101B-9397-08002B2CF9AE}" pid="6" name="MSIP_Label_b0d5c4f4-7a29-4385-b7a5-afbe2154ae6f_Enabled">
    <vt:lpwstr>true</vt:lpwstr>
  </property>
  <property fmtid="{D5CDD505-2E9C-101B-9397-08002B2CF9AE}" pid="7" name="MSIP_Label_b0d5c4f4-7a29-4385-b7a5-afbe2154ae6f_SetDate">
    <vt:lpwstr>2023-12-26T19:09:45Z</vt:lpwstr>
  </property>
  <property fmtid="{D5CDD505-2E9C-101B-9397-08002B2CF9AE}" pid="8" name="MSIP_Label_b0d5c4f4-7a29-4385-b7a5-afbe2154ae6f_Method">
    <vt:lpwstr>Standard</vt:lpwstr>
  </property>
  <property fmtid="{D5CDD505-2E9C-101B-9397-08002B2CF9AE}" pid="9" name="MSIP_Label_b0d5c4f4-7a29-4385-b7a5-afbe2154ae6f_Name">
    <vt:lpwstr>Confidential</vt:lpwstr>
  </property>
  <property fmtid="{D5CDD505-2E9C-101B-9397-08002B2CF9AE}" pid="10" name="MSIP_Label_b0d5c4f4-7a29-4385-b7a5-afbe2154ae6f_SiteId">
    <vt:lpwstr>2dfb2f0b-4d21-4268-9559-72926144c918</vt:lpwstr>
  </property>
  <property fmtid="{D5CDD505-2E9C-101B-9397-08002B2CF9AE}" pid="11" name="MSIP_Label_b0d5c4f4-7a29-4385-b7a5-afbe2154ae6f_ActionId">
    <vt:lpwstr>477aa333-2d09-45ee-9911-ddbba0cf336d</vt:lpwstr>
  </property>
  <property fmtid="{D5CDD505-2E9C-101B-9397-08002B2CF9AE}" pid="12" name="MSIP_Label_b0d5c4f4-7a29-4385-b7a5-afbe2154ae6f_ContentBits">
    <vt:lpwstr>0</vt:lpwstr>
  </property>
</Properties>
</file>